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  <p:sldMasterId id="2147484258" r:id="rId2"/>
    <p:sldMasterId id="2147484283" r:id="rId3"/>
  </p:sldMasterIdLst>
  <p:notesMasterIdLst>
    <p:notesMasterId r:id="rId18"/>
  </p:notesMasterIdLst>
  <p:handoutMasterIdLst>
    <p:handoutMasterId r:id="rId19"/>
  </p:handoutMasterIdLst>
  <p:sldIdLst>
    <p:sldId id="910" r:id="rId4"/>
    <p:sldId id="1075" r:id="rId5"/>
    <p:sldId id="1076" r:id="rId6"/>
    <p:sldId id="1091" r:id="rId7"/>
    <p:sldId id="1090" r:id="rId8"/>
    <p:sldId id="1089" r:id="rId9"/>
    <p:sldId id="1088" r:id="rId10"/>
    <p:sldId id="1082" r:id="rId11"/>
    <p:sldId id="1084" r:id="rId12"/>
    <p:sldId id="1085" r:id="rId13"/>
    <p:sldId id="1086" r:id="rId14"/>
    <p:sldId id="1087" r:id="rId15"/>
    <p:sldId id="1079" r:id="rId16"/>
    <p:sldId id="1074" r:id="rId17"/>
  </p:sldIdLst>
  <p:sldSz cx="9144000" cy="6858000" type="screen4x3"/>
  <p:notesSz cx="7315200" cy="96012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33FF"/>
    <a:srgbClr val="EBEBEB"/>
    <a:srgbClr val="E3E3E3"/>
    <a:srgbClr val="F2F2F2"/>
    <a:srgbClr val="C0C0C0"/>
    <a:srgbClr val="EAEAEA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86" autoAdjust="0"/>
    <p:restoredTop sz="73875" autoAdjust="0"/>
  </p:normalViewPr>
  <p:slideViewPr>
    <p:cSldViewPr snapToGrid="0" snapToObjects="1">
      <p:cViewPr varScale="1">
        <p:scale>
          <a:sx n="68" d="100"/>
          <a:sy n="68" d="100"/>
        </p:scale>
        <p:origin x="2160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87863" cy="472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5726" y="0"/>
            <a:ext cx="3187863" cy="472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C41535-BB11-4A8B-944F-6C78E08581C0}" type="datetime1">
              <a:rPr lang="en-US" altLang="en-US"/>
              <a:pPr>
                <a:defRPr/>
              </a:pPr>
              <a:t>7/9/2017</a:t>
            </a:fld>
            <a:endParaRPr lang="en-US" altLang="en-US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46424"/>
            <a:ext cx="3187863" cy="472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300" b="1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5726" y="9146424"/>
            <a:ext cx="3187863" cy="472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 b="1" smtClean="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FB86E6-A1B3-4ADB-91FF-5D4C2DDC1D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311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234950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7526" y="4061793"/>
            <a:ext cx="6740148" cy="4820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56"/>
            <a:ext cx="3169474" cy="479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latin typeface="Times New Roman" pitchFamily="18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055" y="9120156"/>
            <a:ext cx="3169474" cy="479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6" tIns="47669" rIns="95336" bIns="47669" numCol="1" anchor="b" anchorCtr="0" compatLnSpc="1">
            <a:prstTxWarp prst="textNoShape">
              <a:avLst/>
            </a:prstTxWarp>
          </a:bodyPr>
          <a:lstStyle>
            <a:lvl1pPr algn="r">
              <a:defRPr sz="1300" smtClean="0"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E639A2-3FAC-4EBB-A070-D668385A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595556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12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74302" indent="-297809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91235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67728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144222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620716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3097210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573704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4050198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dirty="0">
                <a:latin typeface="Helvetica" panose="020B0604020202020204" pitchFamily="34" charset="0"/>
              </a:rPr>
              <a:t>IBM Big Data &amp; Analytics</a:t>
            </a:r>
            <a:r>
              <a:rPr lang="en-US" altLang="en-US" sz="1400" dirty="0">
                <a:latin typeface="Helvetica" panose="020B0604020202020204" pitchFamily="34" charset="0"/>
              </a:rPr>
              <a:t/>
            </a:r>
            <a:br>
              <a:rPr lang="en-US" altLang="en-US" sz="1400" dirty="0">
                <a:latin typeface="Helvetica" panose="020B0604020202020204" pitchFamily="34" charset="0"/>
              </a:rPr>
            </a:br>
            <a:r>
              <a:rPr lang="en-US" altLang="en-US" dirty="0">
                <a:latin typeface="Helvetica" panose="020B0604020202020204" pitchFamily="34" charset="0"/>
              </a:rPr>
              <a:t>© 2013 IBM Corporation</a:t>
            </a:r>
          </a:p>
        </p:txBody>
      </p:sp>
      <p:sp>
        <p:nvSpPr>
          <p:cNvPr id="61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74302" indent="-297809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91235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67728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144222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620716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3097210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573704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4050198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A0E453D-6841-42C5-9D29-9F3B9BFD66C7}" type="slidenum">
              <a:rPr lang="en-US" altLang="en-US">
                <a:latin typeface="Helvetica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 dirty="0">
              <a:latin typeface="Helvetica" panose="020B0604020202020204" pitchFamily="34" charset="0"/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289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/>
              <a:t>IBM Big Data &amp; Analytics</a:t>
            </a:r>
            <a:br>
              <a:rPr lang="en-US" altLang="en-US"/>
            </a:br>
            <a:r>
              <a:rPr lang="en-US" altLang="en-US"/>
              <a:t>© 2014 IBM Corporation</a:t>
            </a:r>
          </a:p>
        </p:txBody>
      </p:sp>
      <p:sp>
        <p:nvSpPr>
          <p:cNvPr id="1218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CE42165-C474-4840-9675-1455D1578C41}" type="slidenum">
              <a:rPr lang="en-US" altLang="en-US"/>
              <a:pPr>
                <a:spcBef>
                  <a:spcPct val="0"/>
                </a:spcBef>
              </a:pPr>
              <a:t>14</a:t>
            </a:fld>
            <a:endParaRPr lang="en-US" altLang="en-US"/>
          </a:p>
        </p:txBody>
      </p:sp>
      <p:sp>
        <p:nvSpPr>
          <p:cNvPr id="1218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1950" y="652463"/>
            <a:ext cx="3735388" cy="2801937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070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 smtClean="0">
              <a:latin typeface="+mn-lt"/>
              <a:ea typeface="+mn-ea"/>
              <a:cs typeface="+mn-cs"/>
            </a:endParaRPr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5170B72-5C43-409C-A21F-1D51D6FCC559}" type="slidenum">
              <a:rPr lang="en-US" altLang="en-US" sz="1300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en-US" altLang="en-US" sz="13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893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 smtClean="0">
              <a:latin typeface="+mn-lt"/>
              <a:ea typeface="+mn-ea"/>
              <a:cs typeface="+mn-cs"/>
            </a:endParaRPr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5170B72-5C43-409C-A21F-1D51D6FCC559}" type="slidenum">
              <a:rPr lang="en-US" altLang="en-US" sz="1300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en-US" altLang="en-US" sz="13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562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Calibri" pitchFamily="34" charset="0"/>
              <a:ea typeface="ＭＳ Ｐゴシック" pitchFamily="34" charset="-128"/>
              <a:cs typeface="ＭＳ Ｐゴシック" pitchFamily="34" charset="-128"/>
            </a:endParaRPr>
          </a:p>
        </p:txBody>
      </p:sp>
      <p:sp>
        <p:nvSpPr>
          <p:cNvPr id="7066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1" y="-421700"/>
            <a:ext cx="1608" cy="4233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2814" indent="-289544" eaLnBrk="0" hangingPunct="0"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58174" indent="-231634" eaLnBrk="0" hangingPunct="0"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21445" indent="-231634" eaLnBrk="0" hangingPunct="0"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84713" indent="-231634" eaLnBrk="0" hangingPunct="0"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47984" indent="-2316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11253" indent="-2316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74523" indent="-2316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37792" indent="-2316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C6AF3194-EB0D-4EE3-9E4F-3BECBC3A20D6}" type="slidenum">
              <a:rPr lang="en-US" sz="1200">
                <a:solidFill>
                  <a:schemeClr val="tx1"/>
                </a:solidFill>
              </a:rPr>
              <a:pPr eaLnBrk="1" hangingPunct="1"/>
              <a:t>4</a:t>
            </a:fld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313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616075" y="642938"/>
            <a:ext cx="3678238" cy="2759075"/>
          </a:xfrm>
          <a:ln/>
        </p:spPr>
      </p:sp>
      <p:sp>
        <p:nvSpPr>
          <p:cNvPr id="17817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z="1000" dirty="0">
              <a:latin typeface="Arial" panose="020B0604020202020204" pitchFamily="34" charset="0"/>
            </a:endParaRPr>
          </a:p>
        </p:txBody>
      </p:sp>
      <p:sp>
        <p:nvSpPr>
          <p:cNvPr id="1781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fld id="{770CD2B2-7A1A-4CF1-99EB-802A45D35623}" type="slidenum">
              <a:rPr lang="en-US" altLang="en-US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26964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  <a:lvl2pPr marL="774302" indent="-297809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2pPr>
            <a:lvl3pPr marL="1191235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3pPr>
            <a:lvl4pPr marL="1667728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4pPr>
            <a:lvl5pPr marL="2144222" indent="-238247">
              <a:spcBef>
                <a:spcPct val="30000"/>
              </a:spcBef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5pPr>
            <a:lvl6pPr marL="2620716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6pPr>
            <a:lvl7pPr marL="3097210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7pPr>
            <a:lvl8pPr marL="3573704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8pPr>
            <a:lvl9pPr marL="4050198" indent="-238247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imes New Roman" panose="02020603050405020304" pitchFamily="18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496CC8DC-F126-4269-AA9A-7663162B1985}" type="slidenum">
              <a:rPr lang="en-US" altLang="en-US"/>
              <a:pPr>
                <a:spcBef>
                  <a:spcPct val="0"/>
                </a:spcBef>
              </a:pPr>
              <a:t>6</a:t>
            </a:fld>
            <a:endParaRPr lang="en-US" altLang="en-US" dirty="0"/>
          </a:p>
        </p:txBody>
      </p:sp>
      <p:sp>
        <p:nvSpPr>
          <p:cNvPr id="81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41425" y="720725"/>
            <a:ext cx="3024188" cy="2268538"/>
          </a:xfrm>
          <a:ln/>
        </p:spPr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0959" y="3207618"/>
            <a:ext cx="6726775" cy="538223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187994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 smtClean="0">
              <a:latin typeface="+mn-lt"/>
              <a:ea typeface="+mn-ea"/>
              <a:cs typeface="+mn-cs"/>
            </a:endParaRPr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5170B72-5C43-409C-A21F-1D51D6FCC559}" type="slidenum">
              <a:rPr lang="en-US" altLang="en-US" sz="1300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7</a:t>
            </a:fld>
            <a:endParaRPr lang="en-US" altLang="en-US" sz="13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558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E639A2-3FAC-4EBB-A070-D668385A60BA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4062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 smtClean="0">
              <a:latin typeface="+mn-lt"/>
              <a:ea typeface="+mn-ea"/>
              <a:cs typeface="+mn-cs"/>
            </a:endParaRPr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C5170B72-5C43-409C-A21F-1D51D6FCC559}" type="slidenum">
              <a:rPr lang="en-US" altLang="en-US" sz="1300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3</a:t>
            </a:fld>
            <a:endParaRPr lang="en-US" altLang="en-US" sz="13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995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 descr="DB2_LUW_Bann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3025775"/>
            <a:ext cx="8612187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0" descr="R120_G137_B251-2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</a:t>
            </a:r>
            <a:r>
              <a:rPr lang="en-US" altLang="en-US" sz="800" dirty="0" smtClean="0"/>
              <a:t>2017 </a:t>
            </a:r>
            <a:r>
              <a:rPr lang="en-US" altLang="en-US" sz="800" dirty="0"/>
              <a:t>IBM Corporation</a:t>
            </a:r>
          </a:p>
        </p:txBody>
      </p:sp>
      <p:sp>
        <p:nvSpPr>
          <p:cNvPr id="2253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850" y="1460500"/>
            <a:ext cx="7772400" cy="1470025"/>
          </a:xfrm>
        </p:spPr>
        <p:txBody>
          <a:bodyPr anchor="b"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850" y="5216525"/>
            <a:ext cx="8661400" cy="1362075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 smtClean="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223862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21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69063" y="604838"/>
            <a:ext cx="2038350" cy="5578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2425" y="604838"/>
            <a:ext cx="5964238" cy="5578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232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2090738"/>
            <a:ext cx="7940675" cy="4092575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586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52425" y="604838"/>
            <a:ext cx="8154988" cy="5578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5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13275" y="2090738"/>
            <a:ext cx="3894138" cy="1970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13275" y="4213225"/>
            <a:ext cx="3894138" cy="1970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3070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25" y="604838"/>
            <a:ext cx="7402513" cy="7270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7610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278880"/>
            <a:ext cx="210312" cy="26822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960120" y="6293291"/>
            <a:ext cx="2895600" cy="26822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/>
              <a:t>World of Watson 2016 </a:t>
            </a:r>
            <a:endParaRPr lang="de-DE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>
          <a:xfrm>
            <a:off x="7104888" y="6293291"/>
            <a:ext cx="1809432" cy="268224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88C5A43A-D7F1-2D40-88D0-9AFC21143301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28600" y="231648"/>
            <a:ext cx="2834640" cy="2133600"/>
          </a:xfrm>
        </p:spPr>
        <p:txBody>
          <a:bodyPr/>
          <a:lstStyle>
            <a:lvl1pPr>
              <a:defRPr>
                <a:solidFill>
                  <a:srgbClr val="5AAAFA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49" name="Group 48"/>
          <p:cNvGrpSpPr>
            <a:grpSpLocks noChangeAspect="1"/>
          </p:cNvGrpSpPr>
          <p:nvPr userDrawn="1"/>
        </p:nvGrpSpPr>
        <p:grpSpPr>
          <a:xfrm>
            <a:off x="8438078" y="6305483"/>
            <a:ext cx="473837" cy="256032"/>
            <a:chOff x="1938338" y="2368551"/>
            <a:chExt cx="5260976" cy="2132013"/>
          </a:xfrm>
          <a:solidFill>
            <a:srgbClr val="FFFFFF"/>
          </a:solidFill>
        </p:grpSpPr>
        <p:sp>
          <p:nvSpPr>
            <p:cNvPr id="91" name="Freeform 6"/>
            <p:cNvSpPr>
              <a:spLocks/>
            </p:cNvSpPr>
            <p:nvPr userDrawn="1"/>
          </p:nvSpPr>
          <p:spPr bwMode="auto">
            <a:xfrm>
              <a:off x="5208594" y="2936869"/>
              <a:ext cx="758826" cy="141292"/>
            </a:xfrm>
            <a:custGeom>
              <a:avLst/>
              <a:gdLst>
                <a:gd name="T0" fmla="*/ 0 w 478"/>
                <a:gd name="T1" fmla="*/ 0 h 89"/>
                <a:gd name="T2" fmla="*/ 448 w 478"/>
                <a:gd name="T3" fmla="*/ 0 h 89"/>
                <a:gd name="T4" fmla="*/ 455 w 478"/>
                <a:gd name="T5" fmla="*/ 22 h 89"/>
                <a:gd name="T6" fmla="*/ 461 w 478"/>
                <a:gd name="T7" fmla="*/ 40 h 89"/>
                <a:gd name="T8" fmla="*/ 466 w 478"/>
                <a:gd name="T9" fmla="*/ 56 h 89"/>
                <a:gd name="T10" fmla="*/ 473 w 478"/>
                <a:gd name="T11" fmla="*/ 72 h 89"/>
                <a:gd name="T12" fmla="*/ 478 w 478"/>
                <a:gd name="T13" fmla="*/ 89 h 89"/>
                <a:gd name="T14" fmla="*/ 0 w 478"/>
                <a:gd name="T15" fmla="*/ 89 h 89"/>
                <a:gd name="T16" fmla="*/ 0 w 478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8" h="89">
                  <a:moveTo>
                    <a:pt x="0" y="0"/>
                  </a:moveTo>
                  <a:lnTo>
                    <a:pt x="448" y="0"/>
                  </a:lnTo>
                  <a:lnTo>
                    <a:pt x="455" y="22"/>
                  </a:lnTo>
                  <a:lnTo>
                    <a:pt x="461" y="40"/>
                  </a:lnTo>
                  <a:lnTo>
                    <a:pt x="466" y="56"/>
                  </a:lnTo>
                  <a:lnTo>
                    <a:pt x="473" y="72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2" name="Freeform 7"/>
            <p:cNvSpPr>
              <a:spLocks/>
            </p:cNvSpPr>
            <p:nvPr/>
          </p:nvSpPr>
          <p:spPr bwMode="auto">
            <a:xfrm>
              <a:off x="6156326" y="2936876"/>
              <a:ext cx="758825" cy="141288"/>
            </a:xfrm>
            <a:custGeom>
              <a:avLst/>
              <a:gdLst>
                <a:gd name="T0" fmla="*/ 30 w 478"/>
                <a:gd name="T1" fmla="*/ 0 h 89"/>
                <a:gd name="T2" fmla="*/ 478 w 478"/>
                <a:gd name="T3" fmla="*/ 0 h 89"/>
                <a:gd name="T4" fmla="*/ 478 w 478"/>
                <a:gd name="T5" fmla="*/ 89 h 89"/>
                <a:gd name="T6" fmla="*/ 0 w 478"/>
                <a:gd name="T7" fmla="*/ 89 h 89"/>
                <a:gd name="T8" fmla="*/ 30 w 47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8" h="89">
                  <a:moveTo>
                    <a:pt x="30" y="0"/>
                  </a:moveTo>
                  <a:lnTo>
                    <a:pt x="478" y="0"/>
                  </a:lnTo>
                  <a:lnTo>
                    <a:pt x="478" y="89"/>
                  </a:lnTo>
                  <a:lnTo>
                    <a:pt x="0" y="89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3" name="Freeform 8"/>
            <p:cNvSpPr>
              <a:spLocks/>
            </p:cNvSpPr>
            <p:nvPr/>
          </p:nvSpPr>
          <p:spPr bwMode="auto">
            <a:xfrm>
              <a:off x="5635626" y="3221038"/>
              <a:ext cx="427038" cy="141288"/>
            </a:xfrm>
            <a:custGeom>
              <a:avLst/>
              <a:gdLst>
                <a:gd name="T0" fmla="*/ 0 w 269"/>
                <a:gd name="T1" fmla="*/ 0 h 89"/>
                <a:gd name="T2" fmla="*/ 239 w 269"/>
                <a:gd name="T3" fmla="*/ 0 h 89"/>
                <a:gd name="T4" fmla="*/ 242 w 269"/>
                <a:gd name="T5" fmla="*/ 8 h 89"/>
                <a:gd name="T6" fmla="*/ 245 w 269"/>
                <a:gd name="T7" fmla="*/ 19 h 89"/>
                <a:gd name="T8" fmla="*/ 249 w 269"/>
                <a:gd name="T9" fmla="*/ 31 h 89"/>
                <a:gd name="T10" fmla="*/ 254 w 269"/>
                <a:gd name="T11" fmla="*/ 45 h 89"/>
                <a:gd name="T12" fmla="*/ 258 w 269"/>
                <a:gd name="T13" fmla="*/ 58 h 89"/>
                <a:gd name="T14" fmla="*/ 262 w 269"/>
                <a:gd name="T15" fmla="*/ 70 h 89"/>
                <a:gd name="T16" fmla="*/ 266 w 269"/>
                <a:gd name="T17" fmla="*/ 80 h 89"/>
                <a:gd name="T18" fmla="*/ 268 w 269"/>
                <a:gd name="T19" fmla="*/ 87 h 89"/>
                <a:gd name="T20" fmla="*/ 269 w 269"/>
                <a:gd name="T21" fmla="*/ 89 h 89"/>
                <a:gd name="T22" fmla="*/ 30 w 269"/>
                <a:gd name="T23" fmla="*/ 89 h 89"/>
                <a:gd name="T24" fmla="*/ 27 w 269"/>
                <a:gd name="T25" fmla="*/ 82 h 89"/>
                <a:gd name="T26" fmla="*/ 23 w 269"/>
                <a:gd name="T27" fmla="*/ 71 h 89"/>
                <a:gd name="T28" fmla="*/ 19 w 269"/>
                <a:gd name="T29" fmla="*/ 59 h 89"/>
                <a:gd name="T30" fmla="*/ 15 w 269"/>
                <a:gd name="T31" fmla="*/ 45 h 89"/>
                <a:gd name="T32" fmla="*/ 10 w 269"/>
                <a:gd name="T33" fmla="*/ 32 h 89"/>
                <a:gd name="T34" fmla="*/ 6 w 269"/>
                <a:gd name="T35" fmla="*/ 20 h 89"/>
                <a:gd name="T36" fmla="*/ 3 w 269"/>
                <a:gd name="T37" fmla="*/ 10 h 89"/>
                <a:gd name="T38" fmla="*/ 0 w 269"/>
                <a:gd name="T39" fmla="*/ 3 h 89"/>
                <a:gd name="T40" fmla="*/ 0 w 269"/>
                <a:gd name="T4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9" h="89">
                  <a:moveTo>
                    <a:pt x="0" y="0"/>
                  </a:moveTo>
                  <a:lnTo>
                    <a:pt x="239" y="0"/>
                  </a:lnTo>
                  <a:lnTo>
                    <a:pt x="242" y="8"/>
                  </a:lnTo>
                  <a:lnTo>
                    <a:pt x="245" y="19"/>
                  </a:lnTo>
                  <a:lnTo>
                    <a:pt x="249" y="31"/>
                  </a:lnTo>
                  <a:lnTo>
                    <a:pt x="254" y="45"/>
                  </a:lnTo>
                  <a:lnTo>
                    <a:pt x="258" y="58"/>
                  </a:lnTo>
                  <a:lnTo>
                    <a:pt x="262" y="70"/>
                  </a:lnTo>
                  <a:lnTo>
                    <a:pt x="266" y="80"/>
                  </a:lnTo>
                  <a:lnTo>
                    <a:pt x="268" y="87"/>
                  </a:lnTo>
                  <a:lnTo>
                    <a:pt x="269" y="89"/>
                  </a:lnTo>
                  <a:lnTo>
                    <a:pt x="30" y="89"/>
                  </a:lnTo>
                  <a:lnTo>
                    <a:pt x="27" y="82"/>
                  </a:lnTo>
                  <a:lnTo>
                    <a:pt x="23" y="71"/>
                  </a:lnTo>
                  <a:lnTo>
                    <a:pt x="19" y="59"/>
                  </a:lnTo>
                  <a:lnTo>
                    <a:pt x="15" y="45"/>
                  </a:lnTo>
                  <a:lnTo>
                    <a:pt x="10" y="32"/>
                  </a:lnTo>
                  <a:lnTo>
                    <a:pt x="6" y="20"/>
                  </a:lnTo>
                  <a:lnTo>
                    <a:pt x="3" y="1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4" name="Freeform 9"/>
            <p:cNvSpPr>
              <a:spLocks/>
            </p:cNvSpPr>
            <p:nvPr/>
          </p:nvSpPr>
          <p:spPr bwMode="auto">
            <a:xfrm>
              <a:off x="6062663" y="3221038"/>
              <a:ext cx="425450" cy="141288"/>
            </a:xfrm>
            <a:custGeom>
              <a:avLst/>
              <a:gdLst>
                <a:gd name="T0" fmla="*/ 29 w 268"/>
                <a:gd name="T1" fmla="*/ 0 h 89"/>
                <a:gd name="T2" fmla="*/ 268 w 268"/>
                <a:gd name="T3" fmla="*/ 0 h 89"/>
                <a:gd name="T4" fmla="*/ 238 w 268"/>
                <a:gd name="T5" fmla="*/ 89 h 89"/>
                <a:gd name="T6" fmla="*/ 0 w 268"/>
                <a:gd name="T7" fmla="*/ 89 h 89"/>
                <a:gd name="T8" fmla="*/ 29 w 26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89">
                  <a:moveTo>
                    <a:pt x="29" y="0"/>
                  </a:moveTo>
                  <a:lnTo>
                    <a:pt x="268" y="0"/>
                  </a:lnTo>
                  <a:lnTo>
                    <a:pt x="238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5" name="Freeform 10"/>
            <p:cNvSpPr>
              <a:spLocks/>
            </p:cNvSpPr>
            <p:nvPr/>
          </p:nvSpPr>
          <p:spPr bwMode="auto">
            <a:xfrm>
              <a:off x="5730876" y="3505201"/>
              <a:ext cx="663575" cy="142875"/>
            </a:xfrm>
            <a:custGeom>
              <a:avLst/>
              <a:gdLst>
                <a:gd name="T0" fmla="*/ 0 w 418"/>
                <a:gd name="T1" fmla="*/ 0 h 90"/>
                <a:gd name="T2" fmla="*/ 418 w 418"/>
                <a:gd name="T3" fmla="*/ 0 h 90"/>
                <a:gd name="T4" fmla="*/ 388 w 418"/>
                <a:gd name="T5" fmla="*/ 90 h 90"/>
                <a:gd name="T6" fmla="*/ 30 w 418"/>
                <a:gd name="T7" fmla="*/ 90 h 90"/>
                <a:gd name="T8" fmla="*/ 22 w 418"/>
                <a:gd name="T9" fmla="*/ 68 h 90"/>
                <a:gd name="T10" fmla="*/ 16 w 418"/>
                <a:gd name="T11" fmla="*/ 50 h 90"/>
                <a:gd name="T12" fmla="*/ 11 w 418"/>
                <a:gd name="T13" fmla="*/ 34 h 90"/>
                <a:gd name="T14" fmla="*/ 6 w 418"/>
                <a:gd name="T15" fmla="*/ 18 h 90"/>
                <a:gd name="T16" fmla="*/ 0 w 41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8" h="90">
                  <a:moveTo>
                    <a:pt x="0" y="0"/>
                  </a:moveTo>
                  <a:lnTo>
                    <a:pt x="418" y="0"/>
                  </a:lnTo>
                  <a:lnTo>
                    <a:pt x="388" y="90"/>
                  </a:lnTo>
                  <a:lnTo>
                    <a:pt x="30" y="90"/>
                  </a:lnTo>
                  <a:lnTo>
                    <a:pt x="22" y="68"/>
                  </a:lnTo>
                  <a:lnTo>
                    <a:pt x="16" y="50"/>
                  </a:lnTo>
                  <a:lnTo>
                    <a:pt x="11" y="34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6" name="Rectangle 11"/>
            <p:cNvSpPr>
              <a:spLocks noChangeArrowheads="1"/>
            </p:cNvSpPr>
            <p:nvPr/>
          </p:nvSpPr>
          <p:spPr bwMode="auto">
            <a:xfrm>
              <a:off x="5208588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7" name="Rectangle 12"/>
            <p:cNvSpPr>
              <a:spLocks noChangeArrowheads="1"/>
            </p:cNvSpPr>
            <p:nvPr/>
          </p:nvSpPr>
          <p:spPr bwMode="auto">
            <a:xfrm>
              <a:off x="6488113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8" name="Rectangle 13"/>
            <p:cNvSpPr>
              <a:spLocks noChangeArrowheads="1"/>
            </p:cNvSpPr>
            <p:nvPr/>
          </p:nvSpPr>
          <p:spPr bwMode="auto">
            <a:xfrm>
              <a:off x="5208588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99" name="Rectangle 14"/>
            <p:cNvSpPr>
              <a:spLocks noChangeArrowheads="1"/>
            </p:cNvSpPr>
            <p:nvPr/>
          </p:nvSpPr>
          <p:spPr bwMode="auto">
            <a:xfrm>
              <a:off x="6488113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0" name="Rectangle 99"/>
            <p:cNvSpPr>
              <a:spLocks noChangeArrowheads="1"/>
            </p:cNvSpPr>
            <p:nvPr/>
          </p:nvSpPr>
          <p:spPr bwMode="auto">
            <a:xfrm>
              <a:off x="5208588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1" name="Rectangle 100"/>
            <p:cNvSpPr>
              <a:spLocks noChangeArrowheads="1"/>
            </p:cNvSpPr>
            <p:nvPr/>
          </p:nvSpPr>
          <p:spPr bwMode="auto">
            <a:xfrm>
              <a:off x="6488113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2" name="Rectangle 101"/>
            <p:cNvSpPr>
              <a:spLocks noChangeArrowheads="1"/>
            </p:cNvSpPr>
            <p:nvPr/>
          </p:nvSpPr>
          <p:spPr bwMode="auto">
            <a:xfrm>
              <a:off x="4924426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3" name="Rectangle 102"/>
            <p:cNvSpPr>
              <a:spLocks noChangeArrowheads="1"/>
            </p:cNvSpPr>
            <p:nvPr/>
          </p:nvSpPr>
          <p:spPr bwMode="auto">
            <a:xfrm>
              <a:off x="4924426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4" name="Rectangle 19"/>
            <p:cNvSpPr>
              <a:spLocks noChangeArrowheads="1"/>
            </p:cNvSpPr>
            <p:nvPr userDrawn="1"/>
          </p:nvSpPr>
          <p:spPr bwMode="auto">
            <a:xfrm>
              <a:off x="3360743" y="3790954"/>
              <a:ext cx="427045" cy="14129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5" name="Rectangle 20"/>
            <p:cNvSpPr>
              <a:spLocks noChangeArrowheads="1"/>
            </p:cNvSpPr>
            <p:nvPr/>
          </p:nvSpPr>
          <p:spPr bwMode="auto">
            <a:xfrm>
              <a:off x="3360738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6" name="Rectangle 21"/>
            <p:cNvSpPr>
              <a:spLocks noChangeArrowheads="1"/>
            </p:cNvSpPr>
            <p:nvPr/>
          </p:nvSpPr>
          <p:spPr bwMode="auto">
            <a:xfrm>
              <a:off x="2222501" y="3790951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7" name="Rectangle 22"/>
            <p:cNvSpPr>
              <a:spLocks noChangeArrowheads="1"/>
            </p:cNvSpPr>
            <p:nvPr/>
          </p:nvSpPr>
          <p:spPr bwMode="auto">
            <a:xfrm>
              <a:off x="2222501" y="3505201"/>
              <a:ext cx="427038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8" name="Rectangle 23"/>
            <p:cNvSpPr>
              <a:spLocks noChangeArrowheads="1"/>
            </p:cNvSpPr>
            <p:nvPr/>
          </p:nvSpPr>
          <p:spPr bwMode="auto">
            <a:xfrm>
              <a:off x="2222501" y="3221038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09" name="Rectangle 24"/>
            <p:cNvSpPr>
              <a:spLocks noChangeArrowheads="1"/>
            </p:cNvSpPr>
            <p:nvPr/>
          </p:nvSpPr>
          <p:spPr bwMode="auto">
            <a:xfrm>
              <a:off x="2222501" y="2936876"/>
              <a:ext cx="427038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0" name="Rectangle 25"/>
            <p:cNvSpPr>
              <a:spLocks noChangeArrowheads="1"/>
            </p:cNvSpPr>
            <p:nvPr/>
          </p:nvSpPr>
          <p:spPr bwMode="auto">
            <a:xfrm>
              <a:off x="1938338" y="40751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1" name="Rectangle 26"/>
            <p:cNvSpPr>
              <a:spLocks noChangeArrowheads="1"/>
            </p:cNvSpPr>
            <p:nvPr/>
          </p:nvSpPr>
          <p:spPr bwMode="auto">
            <a:xfrm>
              <a:off x="1938338" y="4359276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2" name="Rectangle 27"/>
            <p:cNvSpPr>
              <a:spLocks noChangeArrowheads="1"/>
            </p:cNvSpPr>
            <p:nvPr/>
          </p:nvSpPr>
          <p:spPr bwMode="auto">
            <a:xfrm>
              <a:off x="1938338" y="2368551"/>
              <a:ext cx="995363" cy="1428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3" name="Rectangle 28"/>
            <p:cNvSpPr>
              <a:spLocks noChangeArrowheads="1"/>
            </p:cNvSpPr>
            <p:nvPr/>
          </p:nvSpPr>
          <p:spPr bwMode="auto">
            <a:xfrm>
              <a:off x="1938338" y="2652713"/>
              <a:ext cx="995363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4" name="Freeform 29"/>
            <p:cNvSpPr>
              <a:spLocks/>
            </p:cNvSpPr>
            <p:nvPr/>
          </p:nvSpPr>
          <p:spPr bwMode="auto">
            <a:xfrm>
              <a:off x="4924426" y="2368551"/>
              <a:ext cx="854075" cy="142875"/>
            </a:xfrm>
            <a:custGeom>
              <a:avLst/>
              <a:gdLst>
                <a:gd name="T0" fmla="*/ 0 w 538"/>
                <a:gd name="T1" fmla="*/ 0 h 90"/>
                <a:gd name="T2" fmla="*/ 508 w 538"/>
                <a:gd name="T3" fmla="*/ 0 h 90"/>
                <a:gd name="T4" fmla="*/ 514 w 538"/>
                <a:gd name="T5" fmla="*/ 17 h 90"/>
                <a:gd name="T6" fmla="*/ 519 w 538"/>
                <a:gd name="T7" fmla="*/ 33 h 90"/>
                <a:gd name="T8" fmla="*/ 524 w 538"/>
                <a:gd name="T9" fmla="*/ 49 h 90"/>
                <a:gd name="T10" fmla="*/ 530 w 538"/>
                <a:gd name="T11" fmla="*/ 68 h 90"/>
                <a:gd name="T12" fmla="*/ 538 w 538"/>
                <a:gd name="T13" fmla="*/ 90 h 90"/>
                <a:gd name="T14" fmla="*/ 0 w 538"/>
                <a:gd name="T15" fmla="*/ 90 h 90"/>
                <a:gd name="T16" fmla="*/ 0 w 538"/>
                <a:gd name="T1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8" h="90">
                  <a:moveTo>
                    <a:pt x="0" y="0"/>
                  </a:moveTo>
                  <a:lnTo>
                    <a:pt x="508" y="0"/>
                  </a:lnTo>
                  <a:lnTo>
                    <a:pt x="514" y="17"/>
                  </a:lnTo>
                  <a:lnTo>
                    <a:pt x="519" y="33"/>
                  </a:lnTo>
                  <a:lnTo>
                    <a:pt x="524" y="49"/>
                  </a:lnTo>
                  <a:lnTo>
                    <a:pt x="530" y="68"/>
                  </a:lnTo>
                  <a:lnTo>
                    <a:pt x="538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5" name="Freeform 30"/>
            <p:cNvSpPr>
              <a:spLocks/>
            </p:cNvSpPr>
            <p:nvPr/>
          </p:nvSpPr>
          <p:spPr bwMode="auto">
            <a:xfrm>
              <a:off x="4924426" y="2652713"/>
              <a:ext cx="947738" cy="141288"/>
            </a:xfrm>
            <a:custGeom>
              <a:avLst/>
              <a:gdLst>
                <a:gd name="T0" fmla="*/ 0 w 597"/>
                <a:gd name="T1" fmla="*/ 0 h 89"/>
                <a:gd name="T2" fmla="*/ 567 w 597"/>
                <a:gd name="T3" fmla="*/ 0 h 89"/>
                <a:gd name="T4" fmla="*/ 573 w 597"/>
                <a:gd name="T5" fmla="*/ 17 h 89"/>
                <a:gd name="T6" fmla="*/ 577 w 597"/>
                <a:gd name="T7" fmla="*/ 29 h 89"/>
                <a:gd name="T8" fmla="*/ 581 w 597"/>
                <a:gd name="T9" fmla="*/ 40 h 89"/>
                <a:gd name="T10" fmla="*/ 584 w 597"/>
                <a:gd name="T11" fmla="*/ 50 h 89"/>
                <a:gd name="T12" fmla="*/ 587 w 597"/>
                <a:gd name="T13" fmla="*/ 60 h 89"/>
                <a:gd name="T14" fmla="*/ 592 w 597"/>
                <a:gd name="T15" fmla="*/ 73 h 89"/>
                <a:gd name="T16" fmla="*/ 597 w 597"/>
                <a:gd name="T17" fmla="*/ 89 h 89"/>
                <a:gd name="T18" fmla="*/ 0 w 597"/>
                <a:gd name="T19" fmla="*/ 89 h 89"/>
                <a:gd name="T20" fmla="*/ 0 w 597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7" h="89">
                  <a:moveTo>
                    <a:pt x="0" y="0"/>
                  </a:moveTo>
                  <a:lnTo>
                    <a:pt x="567" y="0"/>
                  </a:lnTo>
                  <a:lnTo>
                    <a:pt x="573" y="17"/>
                  </a:lnTo>
                  <a:lnTo>
                    <a:pt x="577" y="29"/>
                  </a:lnTo>
                  <a:lnTo>
                    <a:pt x="581" y="40"/>
                  </a:lnTo>
                  <a:lnTo>
                    <a:pt x="584" y="50"/>
                  </a:lnTo>
                  <a:lnTo>
                    <a:pt x="587" y="60"/>
                  </a:lnTo>
                  <a:lnTo>
                    <a:pt x="592" y="73"/>
                  </a:lnTo>
                  <a:lnTo>
                    <a:pt x="59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6" name="Freeform 31"/>
            <p:cNvSpPr>
              <a:spLocks/>
            </p:cNvSpPr>
            <p:nvPr/>
          </p:nvSpPr>
          <p:spPr bwMode="auto">
            <a:xfrm>
              <a:off x="6346826" y="2368551"/>
              <a:ext cx="852488" cy="142875"/>
            </a:xfrm>
            <a:custGeom>
              <a:avLst/>
              <a:gdLst>
                <a:gd name="T0" fmla="*/ 30 w 537"/>
                <a:gd name="T1" fmla="*/ 0 h 90"/>
                <a:gd name="T2" fmla="*/ 537 w 537"/>
                <a:gd name="T3" fmla="*/ 0 h 90"/>
                <a:gd name="T4" fmla="*/ 537 w 537"/>
                <a:gd name="T5" fmla="*/ 90 h 90"/>
                <a:gd name="T6" fmla="*/ 0 w 537"/>
                <a:gd name="T7" fmla="*/ 90 h 90"/>
                <a:gd name="T8" fmla="*/ 30 w 537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7" h="90">
                  <a:moveTo>
                    <a:pt x="30" y="0"/>
                  </a:moveTo>
                  <a:lnTo>
                    <a:pt x="537" y="0"/>
                  </a:lnTo>
                  <a:lnTo>
                    <a:pt x="537" y="90"/>
                  </a:lnTo>
                  <a:lnTo>
                    <a:pt x="0" y="90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7" name="Freeform 32"/>
            <p:cNvSpPr>
              <a:spLocks/>
            </p:cNvSpPr>
            <p:nvPr/>
          </p:nvSpPr>
          <p:spPr bwMode="auto">
            <a:xfrm>
              <a:off x="6253163" y="2652713"/>
              <a:ext cx="946150" cy="141288"/>
            </a:xfrm>
            <a:custGeom>
              <a:avLst/>
              <a:gdLst>
                <a:gd name="T0" fmla="*/ 29 w 596"/>
                <a:gd name="T1" fmla="*/ 0 h 89"/>
                <a:gd name="T2" fmla="*/ 596 w 596"/>
                <a:gd name="T3" fmla="*/ 0 h 89"/>
                <a:gd name="T4" fmla="*/ 596 w 596"/>
                <a:gd name="T5" fmla="*/ 89 h 89"/>
                <a:gd name="T6" fmla="*/ 0 w 596"/>
                <a:gd name="T7" fmla="*/ 89 h 89"/>
                <a:gd name="T8" fmla="*/ 29 w 596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6" h="89">
                  <a:moveTo>
                    <a:pt x="29" y="0"/>
                  </a:moveTo>
                  <a:lnTo>
                    <a:pt x="596" y="0"/>
                  </a:lnTo>
                  <a:lnTo>
                    <a:pt x="596" y="89"/>
                  </a:lnTo>
                  <a:lnTo>
                    <a:pt x="0" y="89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8" name="Rectangle 33"/>
            <p:cNvSpPr>
              <a:spLocks noChangeArrowheads="1"/>
            </p:cNvSpPr>
            <p:nvPr/>
          </p:nvSpPr>
          <p:spPr bwMode="auto">
            <a:xfrm>
              <a:off x="6488113" y="4075113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19" name="Rectangle 34"/>
            <p:cNvSpPr>
              <a:spLocks noChangeArrowheads="1"/>
            </p:cNvSpPr>
            <p:nvPr/>
          </p:nvSpPr>
          <p:spPr bwMode="auto">
            <a:xfrm>
              <a:off x="6488113" y="4359276"/>
              <a:ext cx="711200" cy="1412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0" name="Freeform 35"/>
            <p:cNvSpPr>
              <a:spLocks/>
            </p:cNvSpPr>
            <p:nvPr/>
          </p:nvSpPr>
          <p:spPr bwMode="auto">
            <a:xfrm>
              <a:off x="6015038" y="4359276"/>
              <a:ext cx="93663" cy="141288"/>
            </a:xfrm>
            <a:custGeom>
              <a:avLst/>
              <a:gdLst>
                <a:gd name="T0" fmla="*/ 0 w 59"/>
                <a:gd name="T1" fmla="*/ 0 h 89"/>
                <a:gd name="T2" fmla="*/ 59 w 59"/>
                <a:gd name="T3" fmla="*/ 0 h 89"/>
                <a:gd name="T4" fmla="*/ 30 w 59"/>
                <a:gd name="T5" fmla="*/ 89 h 89"/>
                <a:gd name="T6" fmla="*/ 29 w 59"/>
                <a:gd name="T7" fmla="*/ 86 h 89"/>
                <a:gd name="T8" fmla="*/ 27 w 59"/>
                <a:gd name="T9" fmla="*/ 80 h 89"/>
                <a:gd name="T10" fmla="*/ 23 w 59"/>
                <a:gd name="T11" fmla="*/ 70 h 89"/>
                <a:gd name="T12" fmla="*/ 19 w 59"/>
                <a:gd name="T13" fmla="*/ 58 h 89"/>
                <a:gd name="T14" fmla="*/ 15 w 59"/>
                <a:gd name="T15" fmla="*/ 44 h 89"/>
                <a:gd name="T16" fmla="*/ 10 w 59"/>
                <a:gd name="T17" fmla="*/ 31 h 89"/>
                <a:gd name="T18" fmla="*/ 6 w 59"/>
                <a:gd name="T19" fmla="*/ 18 h 89"/>
                <a:gd name="T20" fmla="*/ 3 w 59"/>
                <a:gd name="T21" fmla="*/ 8 h 89"/>
                <a:gd name="T22" fmla="*/ 0 w 59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89">
                  <a:moveTo>
                    <a:pt x="0" y="0"/>
                  </a:moveTo>
                  <a:lnTo>
                    <a:pt x="59" y="0"/>
                  </a:lnTo>
                  <a:lnTo>
                    <a:pt x="30" y="89"/>
                  </a:lnTo>
                  <a:lnTo>
                    <a:pt x="29" y="86"/>
                  </a:lnTo>
                  <a:lnTo>
                    <a:pt x="27" y="80"/>
                  </a:lnTo>
                  <a:lnTo>
                    <a:pt x="23" y="70"/>
                  </a:lnTo>
                  <a:lnTo>
                    <a:pt x="19" y="58"/>
                  </a:lnTo>
                  <a:lnTo>
                    <a:pt x="15" y="44"/>
                  </a:lnTo>
                  <a:lnTo>
                    <a:pt x="10" y="31"/>
                  </a:lnTo>
                  <a:lnTo>
                    <a:pt x="6" y="1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1" name="Freeform 36"/>
            <p:cNvSpPr>
              <a:spLocks/>
            </p:cNvSpPr>
            <p:nvPr/>
          </p:nvSpPr>
          <p:spPr bwMode="auto">
            <a:xfrm>
              <a:off x="5919788" y="4075113"/>
              <a:ext cx="284163" cy="141288"/>
            </a:xfrm>
            <a:custGeom>
              <a:avLst/>
              <a:gdLst>
                <a:gd name="T0" fmla="*/ 0 w 179"/>
                <a:gd name="T1" fmla="*/ 0 h 89"/>
                <a:gd name="T2" fmla="*/ 179 w 179"/>
                <a:gd name="T3" fmla="*/ 0 h 89"/>
                <a:gd name="T4" fmla="*/ 149 w 179"/>
                <a:gd name="T5" fmla="*/ 89 h 89"/>
                <a:gd name="T6" fmla="*/ 30 w 179"/>
                <a:gd name="T7" fmla="*/ 89 h 89"/>
                <a:gd name="T8" fmla="*/ 25 w 179"/>
                <a:gd name="T9" fmla="*/ 72 h 89"/>
                <a:gd name="T10" fmla="*/ 18 w 179"/>
                <a:gd name="T11" fmla="*/ 56 h 89"/>
                <a:gd name="T12" fmla="*/ 13 w 179"/>
                <a:gd name="T13" fmla="*/ 39 h 89"/>
                <a:gd name="T14" fmla="*/ 7 w 179"/>
                <a:gd name="T15" fmla="*/ 21 h 89"/>
                <a:gd name="T16" fmla="*/ 0 w 179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89">
                  <a:moveTo>
                    <a:pt x="0" y="0"/>
                  </a:moveTo>
                  <a:lnTo>
                    <a:pt x="179" y="0"/>
                  </a:lnTo>
                  <a:lnTo>
                    <a:pt x="149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18" y="56"/>
                  </a:lnTo>
                  <a:lnTo>
                    <a:pt x="13" y="39"/>
                  </a:lnTo>
                  <a:lnTo>
                    <a:pt x="7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2" name="Freeform 37"/>
            <p:cNvSpPr>
              <a:spLocks/>
            </p:cNvSpPr>
            <p:nvPr/>
          </p:nvSpPr>
          <p:spPr bwMode="auto">
            <a:xfrm>
              <a:off x="5824538" y="3790951"/>
              <a:ext cx="474663" cy="141288"/>
            </a:xfrm>
            <a:custGeom>
              <a:avLst/>
              <a:gdLst>
                <a:gd name="T0" fmla="*/ 0 w 299"/>
                <a:gd name="T1" fmla="*/ 0 h 89"/>
                <a:gd name="T2" fmla="*/ 299 w 299"/>
                <a:gd name="T3" fmla="*/ 0 h 89"/>
                <a:gd name="T4" fmla="*/ 270 w 299"/>
                <a:gd name="T5" fmla="*/ 89 h 89"/>
                <a:gd name="T6" fmla="*/ 30 w 299"/>
                <a:gd name="T7" fmla="*/ 89 h 89"/>
                <a:gd name="T8" fmla="*/ 25 w 299"/>
                <a:gd name="T9" fmla="*/ 72 h 89"/>
                <a:gd name="T10" fmla="*/ 20 w 299"/>
                <a:gd name="T11" fmla="*/ 59 h 89"/>
                <a:gd name="T12" fmla="*/ 17 w 299"/>
                <a:gd name="T13" fmla="*/ 49 h 89"/>
                <a:gd name="T14" fmla="*/ 14 w 299"/>
                <a:gd name="T15" fmla="*/ 39 h 89"/>
                <a:gd name="T16" fmla="*/ 10 w 299"/>
                <a:gd name="T17" fmla="*/ 29 h 89"/>
                <a:gd name="T18" fmla="*/ 6 w 299"/>
                <a:gd name="T19" fmla="*/ 16 h 89"/>
                <a:gd name="T20" fmla="*/ 0 w 299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9" h="89">
                  <a:moveTo>
                    <a:pt x="0" y="0"/>
                  </a:moveTo>
                  <a:lnTo>
                    <a:pt x="299" y="0"/>
                  </a:lnTo>
                  <a:lnTo>
                    <a:pt x="270" y="89"/>
                  </a:lnTo>
                  <a:lnTo>
                    <a:pt x="30" y="89"/>
                  </a:lnTo>
                  <a:lnTo>
                    <a:pt x="25" y="72"/>
                  </a:lnTo>
                  <a:lnTo>
                    <a:pt x="20" y="59"/>
                  </a:lnTo>
                  <a:lnTo>
                    <a:pt x="17" y="49"/>
                  </a:lnTo>
                  <a:lnTo>
                    <a:pt x="14" y="39"/>
                  </a:lnTo>
                  <a:lnTo>
                    <a:pt x="10" y="29"/>
                  </a:lnTo>
                  <a:lnTo>
                    <a:pt x="6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3" name="Freeform 38"/>
            <p:cNvSpPr>
              <a:spLocks/>
            </p:cNvSpPr>
            <p:nvPr/>
          </p:nvSpPr>
          <p:spPr bwMode="auto">
            <a:xfrm>
              <a:off x="3360738" y="3505201"/>
              <a:ext cx="1344613" cy="142875"/>
            </a:xfrm>
            <a:custGeom>
              <a:avLst/>
              <a:gdLst>
                <a:gd name="T0" fmla="*/ 0 w 847"/>
                <a:gd name="T1" fmla="*/ 0 h 90"/>
                <a:gd name="T2" fmla="*/ 774 w 847"/>
                <a:gd name="T3" fmla="*/ 0 h 90"/>
                <a:gd name="T4" fmla="*/ 802 w 847"/>
                <a:gd name="T5" fmla="*/ 27 h 90"/>
                <a:gd name="T6" fmla="*/ 826 w 847"/>
                <a:gd name="T7" fmla="*/ 57 h 90"/>
                <a:gd name="T8" fmla="*/ 847 w 847"/>
                <a:gd name="T9" fmla="*/ 90 h 90"/>
                <a:gd name="T10" fmla="*/ 0 w 847"/>
                <a:gd name="T11" fmla="*/ 90 h 90"/>
                <a:gd name="T12" fmla="*/ 0 w 847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90">
                  <a:moveTo>
                    <a:pt x="0" y="0"/>
                  </a:moveTo>
                  <a:lnTo>
                    <a:pt x="774" y="0"/>
                  </a:lnTo>
                  <a:lnTo>
                    <a:pt x="802" y="27"/>
                  </a:lnTo>
                  <a:lnTo>
                    <a:pt x="826" y="57"/>
                  </a:lnTo>
                  <a:lnTo>
                    <a:pt x="847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4" name="Freeform 39"/>
            <p:cNvSpPr>
              <a:spLocks/>
            </p:cNvSpPr>
            <p:nvPr/>
          </p:nvSpPr>
          <p:spPr bwMode="auto">
            <a:xfrm>
              <a:off x="4213226" y="3790951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47 w 358"/>
                <a:gd name="T3" fmla="*/ 0 h 89"/>
                <a:gd name="T4" fmla="*/ 355 w 358"/>
                <a:gd name="T5" fmla="*/ 43 h 89"/>
                <a:gd name="T6" fmla="*/ 358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47" y="0"/>
                  </a:lnTo>
                  <a:lnTo>
                    <a:pt x="355" y="43"/>
                  </a:lnTo>
                  <a:lnTo>
                    <a:pt x="358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5" name="Freeform 40"/>
            <p:cNvSpPr>
              <a:spLocks/>
            </p:cNvSpPr>
            <p:nvPr userDrawn="1"/>
          </p:nvSpPr>
          <p:spPr bwMode="auto">
            <a:xfrm>
              <a:off x="3074988" y="40751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64 w 1064"/>
                <a:gd name="T3" fmla="*/ 0 h 89"/>
                <a:gd name="T4" fmla="*/ 1054 w 1064"/>
                <a:gd name="T5" fmla="*/ 31 h 89"/>
                <a:gd name="T6" fmla="*/ 1042 w 1064"/>
                <a:gd name="T7" fmla="*/ 60 h 89"/>
                <a:gd name="T8" fmla="*/ 1027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64" y="0"/>
                  </a:lnTo>
                  <a:lnTo>
                    <a:pt x="1054" y="31"/>
                  </a:lnTo>
                  <a:lnTo>
                    <a:pt x="1042" y="60"/>
                  </a:lnTo>
                  <a:lnTo>
                    <a:pt x="102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6" name="Freeform 41"/>
            <p:cNvSpPr>
              <a:spLocks/>
            </p:cNvSpPr>
            <p:nvPr/>
          </p:nvSpPr>
          <p:spPr bwMode="auto">
            <a:xfrm>
              <a:off x="3074988" y="4359276"/>
              <a:ext cx="1516063" cy="141288"/>
            </a:xfrm>
            <a:custGeom>
              <a:avLst/>
              <a:gdLst>
                <a:gd name="T0" fmla="*/ 0 w 955"/>
                <a:gd name="T1" fmla="*/ 0 h 89"/>
                <a:gd name="T2" fmla="*/ 955 w 955"/>
                <a:gd name="T3" fmla="*/ 0 h 89"/>
                <a:gd name="T4" fmla="*/ 921 w 955"/>
                <a:gd name="T5" fmla="*/ 26 h 89"/>
                <a:gd name="T6" fmla="*/ 885 w 955"/>
                <a:gd name="T7" fmla="*/ 48 h 89"/>
                <a:gd name="T8" fmla="*/ 846 w 955"/>
                <a:gd name="T9" fmla="*/ 65 h 89"/>
                <a:gd name="T10" fmla="*/ 805 w 955"/>
                <a:gd name="T11" fmla="*/ 78 h 89"/>
                <a:gd name="T12" fmla="*/ 761 w 955"/>
                <a:gd name="T13" fmla="*/ 86 h 89"/>
                <a:gd name="T14" fmla="*/ 717 w 955"/>
                <a:gd name="T15" fmla="*/ 89 h 89"/>
                <a:gd name="T16" fmla="*/ 0 w 955"/>
                <a:gd name="T17" fmla="*/ 89 h 89"/>
                <a:gd name="T18" fmla="*/ 0 w 955"/>
                <a:gd name="T1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89">
                  <a:moveTo>
                    <a:pt x="0" y="0"/>
                  </a:moveTo>
                  <a:lnTo>
                    <a:pt x="955" y="0"/>
                  </a:lnTo>
                  <a:lnTo>
                    <a:pt x="921" y="26"/>
                  </a:lnTo>
                  <a:lnTo>
                    <a:pt x="885" y="48"/>
                  </a:lnTo>
                  <a:lnTo>
                    <a:pt x="846" y="65"/>
                  </a:lnTo>
                  <a:lnTo>
                    <a:pt x="805" y="78"/>
                  </a:lnTo>
                  <a:lnTo>
                    <a:pt x="761" y="86"/>
                  </a:lnTo>
                  <a:lnTo>
                    <a:pt x="71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7" name="Freeform 42"/>
            <p:cNvSpPr>
              <a:spLocks/>
            </p:cNvSpPr>
            <p:nvPr/>
          </p:nvSpPr>
          <p:spPr bwMode="auto">
            <a:xfrm>
              <a:off x="3360738" y="3221038"/>
              <a:ext cx="1344613" cy="141288"/>
            </a:xfrm>
            <a:custGeom>
              <a:avLst/>
              <a:gdLst>
                <a:gd name="T0" fmla="*/ 0 w 847"/>
                <a:gd name="T1" fmla="*/ 0 h 89"/>
                <a:gd name="T2" fmla="*/ 847 w 847"/>
                <a:gd name="T3" fmla="*/ 0 h 89"/>
                <a:gd name="T4" fmla="*/ 826 w 847"/>
                <a:gd name="T5" fmla="*/ 33 h 89"/>
                <a:gd name="T6" fmla="*/ 802 w 847"/>
                <a:gd name="T7" fmla="*/ 62 h 89"/>
                <a:gd name="T8" fmla="*/ 775 w 847"/>
                <a:gd name="T9" fmla="*/ 89 h 89"/>
                <a:gd name="T10" fmla="*/ 0 w 847"/>
                <a:gd name="T11" fmla="*/ 89 h 89"/>
                <a:gd name="T12" fmla="*/ 0 w 847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7" h="89">
                  <a:moveTo>
                    <a:pt x="0" y="0"/>
                  </a:moveTo>
                  <a:lnTo>
                    <a:pt x="847" y="0"/>
                  </a:lnTo>
                  <a:lnTo>
                    <a:pt x="826" y="33"/>
                  </a:lnTo>
                  <a:lnTo>
                    <a:pt x="802" y="62"/>
                  </a:lnTo>
                  <a:lnTo>
                    <a:pt x="775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8" name="Freeform 43"/>
            <p:cNvSpPr>
              <a:spLocks/>
            </p:cNvSpPr>
            <p:nvPr/>
          </p:nvSpPr>
          <p:spPr bwMode="auto">
            <a:xfrm>
              <a:off x="4213226" y="2936876"/>
              <a:ext cx="568325" cy="141288"/>
            </a:xfrm>
            <a:custGeom>
              <a:avLst/>
              <a:gdLst>
                <a:gd name="T0" fmla="*/ 0 w 358"/>
                <a:gd name="T1" fmla="*/ 0 h 89"/>
                <a:gd name="T2" fmla="*/ 358 w 358"/>
                <a:gd name="T3" fmla="*/ 0 h 89"/>
                <a:gd name="T4" fmla="*/ 355 w 358"/>
                <a:gd name="T5" fmla="*/ 46 h 89"/>
                <a:gd name="T6" fmla="*/ 347 w 358"/>
                <a:gd name="T7" fmla="*/ 89 h 89"/>
                <a:gd name="T8" fmla="*/ 0 w 358"/>
                <a:gd name="T9" fmla="*/ 89 h 89"/>
                <a:gd name="T10" fmla="*/ 0 w 35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8" h="89">
                  <a:moveTo>
                    <a:pt x="0" y="0"/>
                  </a:moveTo>
                  <a:lnTo>
                    <a:pt x="358" y="0"/>
                  </a:lnTo>
                  <a:lnTo>
                    <a:pt x="355" y="46"/>
                  </a:lnTo>
                  <a:lnTo>
                    <a:pt x="347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29" name="Freeform 44"/>
            <p:cNvSpPr>
              <a:spLocks/>
            </p:cNvSpPr>
            <p:nvPr/>
          </p:nvSpPr>
          <p:spPr bwMode="auto">
            <a:xfrm>
              <a:off x="3074988" y="2368551"/>
              <a:ext cx="1516063" cy="142875"/>
            </a:xfrm>
            <a:custGeom>
              <a:avLst/>
              <a:gdLst>
                <a:gd name="T0" fmla="*/ 0 w 955"/>
                <a:gd name="T1" fmla="*/ 0 h 90"/>
                <a:gd name="T2" fmla="*/ 717 w 955"/>
                <a:gd name="T3" fmla="*/ 0 h 90"/>
                <a:gd name="T4" fmla="*/ 761 w 955"/>
                <a:gd name="T5" fmla="*/ 3 h 90"/>
                <a:gd name="T6" fmla="*/ 805 w 955"/>
                <a:gd name="T7" fmla="*/ 11 h 90"/>
                <a:gd name="T8" fmla="*/ 846 w 955"/>
                <a:gd name="T9" fmla="*/ 24 h 90"/>
                <a:gd name="T10" fmla="*/ 885 w 955"/>
                <a:gd name="T11" fmla="*/ 41 h 90"/>
                <a:gd name="T12" fmla="*/ 921 w 955"/>
                <a:gd name="T13" fmla="*/ 63 h 90"/>
                <a:gd name="T14" fmla="*/ 955 w 955"/>
                <a:gd name="T15" fmla="*/ 90 h 90"/>
                <a:gd name="T16" fmla="*/ 0 w 955"/>
                <a:gd name="T17" fmla="*/ 90 h 90"/>
                <a:gd name="T18" fmla="*/ 0 w 955"/>
                <a:gd name="T1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5" h="90">
                  <a:moveTo>
                    <a:pt x="0" y="0"/>
                  </a:moveTo>
                  <a:lnTo>
                    <a:pt x="717" y="0"/>
                  </a:lnTo>
                  <a:lnTo>
                    <a:pt x="761" y="3"/>
                  </a:lnTo>
                  <a:lnTo>
                    <a:pt x="805" y="11"/>
                  </a:lnTo>
                  <a:lnTo>
                    <a:pt x="846" y="24"/>
                  </a:lnTo>
                  <a:lnTo>
                    <a:pt x="885" y="41"/>
                  </a:lnTo>
                  <a:lnTo>
                    <a:pt x="921" y="63"/>
                  </a:lnTo>
                  <a:lnTo>
                    <a:pt x="955" y="90"/>
                  </a:lnTo>
                  <a:lnTo>
                    <a:pt x="0" y="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  <p:sp>
          <p:nvSpPr>
            <p:cNvPr id="130" name="Freeform 45"/>
            <p:cNvSpPr>
              <a:spLocks/>
            </p:cNvSpPr>
            <p:nvPr/>
          </p:nvSpPr>
          <p:spPr bwMode="auto">
            <a:xfrm>
              <a:off x="3074988" y="2652713"/>
              <a:ext cx="1689100" cy="141288"/>
            </a:xfrm>
            <a:custGeom>
              <a:avLst/>
              <a:gdLst>
                <a:gd name="T0" fmla="*/ 0 w 1064"/>
                <a:gd name="T1" fmla="*/ 0 h 89"/>
                <a:gd name="T2" fmla="*/ 1027 w 1064"/>
                <a:gd name="T3" fmla="*/ 0 h 89"/>
                <a:gd name="T4" fmla="*/ 1042 w 1064"/>
                <a:gd name="T5" fmla="*/ 28 h 89"/>
                <a:gd name="T6" fmla="*/ 1054 w 1064"/>
                <a:gd name="T7" fmla="*/ 58 h 89"/>
                <a:gd name="T8" fmla="*/ 1064 w 1064"/>
                <a:gd name="T9" fmla="*/ 89 h 89"/>
                <a:gd name="T10" fmla="*/ 0 w 1064"/>
                <a:gd name="T11" fmla="*/ 89 h 89"/>
                <a:gd name="T12" fmla="*/ 0 w 1064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4" h="89">
                  <a:moveTo>
                    <a:pt x="0" y="0"/>
                  </a:moveTo>
                  <a:lnTo>
                    <a:pt x="1027" y="0"/>
                  </a:lnTo>
                  <a:lnTo>
                    <a:pt x="1042" y="28"/>
                  </a:lnTo>
                  <a:lnTo>
                    <a:pt x="1054" y="58"/>
                  </a:lnTo>
                  <a:lnTo>
                    <a:pt x="1064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latin typeface="Arial"/>
                <a:cs typeface="Arial"/>
              </a:endParaRPr>
            </a:p>
          </p:txBody>
        </p:sp>
      </p:grpSp>
      <p:pic>
        <p:nvPicPr>
          <p:cNvPr id="48" name="Picture 47" descr="wow_2016_logo_v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70" y="5658341"/>
            <a:ext cx="924560" cy="90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0697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4297680" cy="3048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407F8-A0DE-0548-8524-82115295947F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107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1" y="1460413"/>
            <a:ext cx="8541385" cy="43226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2B59D-61C6-734D-B2FA-82ADFB6FECA2}" type="datetime1">
              <a:rPr lang="en-US" noProof="0" smtClean="0"/>
              <a:t>7/9/2017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1" y="231648"/>
            <a:ext cx="4474777" cy="12192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50101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63040"/>
            <a:ext cx="42519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6264F-D4B1-EC4C-8C30-7F9F0D21D144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1" y="231648"/>
            <a:ext cx="4474777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568793" y="1463040"/>
            <a:ext cx="425196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521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3898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63040"/>
            <a:ext cx="283464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AADFED-D696-B14C-9F9D-4B709DB04A57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1" y="231648"/>
            <a:ext cx="4474777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019152" y="1463040"/>
            <a:ext cx="283464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126701" y="1463040"/>
            <a:ext cx="283464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24789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content (4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63040"/>
            <a:ext cx="21031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C0549-033F-F04E-8BB8-1B3E52F5B6D7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1" y="231648"/>
            <a:ext cx="4474777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563700" y="1463040"/>
            <a:ext cx="21031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2412942" y="1463040"/>
            <a:ext cx="21031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6729056" y="1463040"/>
            <a:ext cx="2103120" cy="432265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3117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above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20AAE-0E93-0646-88F8-B04482CD4A2C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601" y="231648"/>
            <a:ext cx="4474777" cy="1219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87177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4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1031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4017" y="231648"/>
            <a:ext cx="6376911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44213-F620-F24C-A685-23884068C705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6509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1031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4016" y="231648"/>
            <a:ext cx="3154680" cy="5791200"/>
          </a:xfrm>
        </p:spPr>
        <p:txBody>
          <a:bodyPr r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2CE4DF-5C59-FE41-87D9-FA30C439C712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5664200" y="231648"/>
            <a:ext cx="3154680" cy="5791200"/>
          </a:xfrm>
        </p:spPr>
        <p:txBody>
          <a:bodyPr r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92101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1031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4016" y="243840"/>
            <a:ext cx="2103120" cy="5767525"/>
          </a:xfrm>
        </p:spPr>
        <p:txBody>
          <a:bodyPr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2A9B07-2AD9-E04E-96EB-52640D3CE50E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574197" y="243840"/>
            <a:ext cx="2103120" cy="5767525"/>
          </a:xfrm>
        </p:spPr>
        <p:txBody>
          <a:bodyPr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6739864" y="243840"/>
            <a:ext cx="2103120" cy="5767525"/>
          </a:xfrm>
        </p:spPr>
        <p:txBody>
          <a:bodyPr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9621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content (8-graph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4016" y="244747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572000" y="244747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739128" y="244747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2414016" y="3169920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4572000" y="3169920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6739128" y="3169920"/>
            <a:ext cx="2103120" cy="2438400"/>
          </a:xfrm>
        </p:spPr>
        <p:txBody>
          <a:bodyPr rIns="0"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1031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938FE-645F-2E40-8F8E-5332AAB7C030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0"/>
          </p:nvPr>
        </p:nvSpPr>
        <p:spPr>
          <a:xfrm>
            <a:off x="2414016" y="262128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21"/>
          </p:nvPr>
        </p:nvSpPr>
        <p:spPr>
          <a:xfrm>
            <a:off x="4572000" y="262128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2"/>
          </p:nvPr>
        </p:nvSpPr>
        <p:spPr>
          <a:xfrm>
            <a:off x="6739128" y="262128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2414016" y="554736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25"/>
          <p:cNvSpPr>
            <a:spLocks noGrp="1"/>
          </p:cNvSpPr>
          <p:nvPr>
            <p:ph type="body" sz="quarter" idx="25"/>
          </p:nvPr>
        </p:nvSpPr>
        <p:spPr>
          <a:xfrm>
            <a:off x="4572000" y="554736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6739128" y="5547360"/>
            <a:ext cx="2103120" cy="609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76757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4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10312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569909-79EB-CD48-8A4A-5A8D23B2CF35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7115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3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83464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9776" y="231648"/>
            <a:ext cx="5659806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360B42-63B9-304D-8F7B-BA1B289E486A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823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3) + content (2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834640" cy="5791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7248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CD755-ADF0-0247-AFB5-091D593A0B30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16752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7832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40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3)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283464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C3198B-BFB2-B34A-8309-8E316F54C5CC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783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none) + content (1/3 +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7248" y="231648"/>
            <a:ext cx="5658304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DB83D-5CC2-DC41-9EA7-60FEADFFDA17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28600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6384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none) + content (3-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4800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D88E6-5C8B-214B-93C3-5859175EB588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016752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228600" y="231648"/>
            <a:ext cx="2834640" cy="5791200"/>
          </a:xfrm>
        </p:spPr>
        <p:txBody>
          <a:bodyPr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9893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(1/2) +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31648"/>
            <a:ext cx="4251960" cy="57912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231648"/>
            <a:ext cx="425196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A6E10-E411-A240-A338-B3A6E7C88E29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1714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1/2, medium text, 30 pt) and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231648"/>
            <a:ext cx="425196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201628-924E-6947-8103-D29E7F24B145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28600" y="182880"/>
            <a:ext cx="4251960" cy="5791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578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1/2, medium text, 30 pt) and content (1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231648"/>
            <a:ext cx="4251960" cy="579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DB504-C20C-814E-9B71-5D4A32B33569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37160" y="182880"/>
            <a:ext cx="4251960" cy="5791200"/>
          </a:xfrm>
        </p:spPr>
        <p:txBody>
          <a:bodyPr/>
          <a:lstStyle>
            <a:lvl1pPr marL="0" indent="0"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0427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only (48 p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DF524-3F05-984E-8D5A-A74FF9189340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109728"/>
            <a:ext cx="8515984" cy="5791200"/>
          </a:xfrm>
        </p:spPr>
        <p:txBody>
          <a:bodyPr/>
          <a:lstStyle>
            <a:lvl1pPr>
              <a:lnSpc>
                <a:spcPct val="9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286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text only (30 p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C8613-32AD-954C-8052-A3A192382257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8600" y="182880"/>
            <a:ext cx="5706166" cy="5791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51018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997A2-0882-9A41-B5BB-6ECC9567DA24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orld of Watson 2016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3929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Analytics-pos-inline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630238"/>
            <a:ext cx="120967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ibm_sp_lockup_western-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13" y="603250"/>
            <a:ext cx="817562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4"/>
          <p:cNvSpPr>
            <a:spLocks noChangeShapeType="1"/>
          </p:cNvSpPr>
          <p:nvPr/>
        </p:nvSpPr>
        <p:spPr bwMode="auto">
          <a:xfrm flipH="1">
            <a:off x="260350" y="906463"/>
            <a:ext cx="8621713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mtClean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7" name="Picture 12" descr="BDA_PPT_color_4x3_whit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8" y="3683000"/>
            <a:ext cx="8631237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5934075" y="6481763"/>
            <a:ext cx="30543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900" smtClean="0">
                <a:solidFill>
                  <a:srgbClr val="000000"/>
                </a:solidFill>
              </a:rPr>
              <a:t>© 2017 IBM Corporation</a:t>
            </a: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7013" y="2343150"/>
            <a:ext cx="8631614" cy="1077913"/>
          </a:xfrm>
        </p:spPr>
        <p:txBody>
          <a:bodyPr anchor="b"/>
          <a:lstStyle>
            <a:lvl1pPr>
              <a:defRPr sz="35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49237" y="917575"/>
            <a:ext cx="8593311" cy="492125"/>
          </a:xfrm>
        </p:spPr>
        <p:txBody>
          <a:bodyPr anchor="b"/>
          <a:lstStyle>
            <a:lvl1pPr marL="0" indent="0">
              <a:buFont typeface="Wingdings" charset="0"/>
              <a:buNone/>
              <a:defRPr sz="11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98143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2090738"/>
            <a:ext cx="3894137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2090738"/>
            <a:ext cx="3894138" cy="4092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345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098560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P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839913" y="6446838"/>
            <a:ext cx="54641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200" smtClean="0">
                <a:solidFill>
                  <a:srgbClr val="000000"/>
                </a:solidFill>
              </a:rPr>
              <a:t>IBM Internal and Business Partners Use Only - </a:t>
            </a:r>
            <a:r>
              <a:rPr lang="en-US" altLang="en-US" sz="1200" b="1" smtClean="0">
                <a:solidFill>
                  <a:srgbClr val="000000"/>
                </a:solidFill>
              </a:rPr>
              <a:t>Not for External Distribu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74731758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24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3668766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6700" y="1471749"/>
            <a:ext cx="4194175" cy="489730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3275" y="1471749"/>
            <a:ext cx="4195763" cy="489730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262450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497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22225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86832"/>
            <a:ext cx="8229600" cy="60798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457200" y="1601892"/>
            <a:ext cx="8229600" cy="4567771"/>
          </a:xfrm>
        </p:spPr>
        <p:txBody>
          <a:bodyPr/>
          <a:lstStyle>
            <a:lvl1pPr>
              <a:buFont typeface="Arial" pitchFamily="34" charset="0"/>
              <a:buChar char="•"/>
              <a:defRPr/>
            </a:lvl1pPr>
            <a:lvl2pPr marL="457200" indent="-228600">
              <a:buFont typeface="Arial" pitchFamily="34" charset="0"/>
              <a:buChar char="−"/>
              <a:defRPr sz="1800"/>
            </a:lvl2pPr>
            <a:lvl3pPr marL="685800">
              <a:buFont typeface="Arial" pitchFamily="34" charset="0"/>
              <a:buChar char="−"/>
              <a:defRPr sz="1600"/>
            </a:lvl3pPr>
            <a:lvl4pPr marL="914400">
              <a:buFont typeface="Arial" pitchFamily="34" charset="0"/>
              <a:buChar char="−"/>
              <a:defRPr sz="1400"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9057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92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0779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3417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574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476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5100" y="538163"/>
            <a:ext cx="880586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– should be all initial caps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5100" y="1236663"/>
            <a:ext cx="8805863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261938" y="488950"/>
            <a:ext cx="86137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29" name="Picture 10" descr="R120_G137_B251-20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188913"/>
            <a:ext cx="588963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Line 10"/>
          <p:cNvSpPr>
            <a:spLocks noChangeShapeType="1"/>
          </p:cNvSpPr>
          <p:nvPr/>
        </p:nvSpPr>
        <p:spPr bwMode="auto">
          <a:xfrm>
            <a:off x="261938" y="6654800"/>
            <a:ext cx="8620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1" name="Rectangle 31"/>
          <p:cNvSpPr>
            <a:spLocks noChangeArrowheads="1"/>
          </p:cNvSpPr>
          <p:nvPr/>
        </p:nvSpPr>
        <p:spPr bwMode="black">
          <a:xfrm>
            <a:off x="165100" y="6654800"/>
            <a:ext cx="395288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D6CA7DB8-5028-4314-B186-65A41A643677}" type="slidenum">
              <a:rPr lang="en-US" altLang="en-US" sz="800" smtClean="0"/>
              <a:pPr eaLnBrk="1" hangingPunct="1">
                <a:defRPr/>
              </a:pPr>
              <a:t>‹#›</a:t>
            </a:fld>
            <a:endParaRPr lang="en-US" altLang="en-US" sz="800"/>
          </a:p>
        </p:txBody>
      </p:sp>
      <p:sp>
        <p:nvSpPr>
          <p:cNvPr id="1032" name="Rectangle 32"/>
          <p:cNvSpPr>
            <a:spLocks noChangeArrowheads="1"/>
          </p:cNvSpPr>
          <p:nvPr/>
        </p:nvSpPr>
        <p:spPr bwMode="auto">
          <a:xfrm>
            <a:off x="7553325" y="6657975"/>
            <a:ext cx="142081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/>
              <a:t>© </a:t>
            </a:r>
            <a:r>
              <a:rPr lang="en-US" altLang="en-US" sz="800" dirty="0" smtClean="0"/>
              <a:t>2017 </a:t>
            </a:r>
            <a:r>
              <a:rPr lang="en-US" altLang="en-US" sz="800" dirty="0"/>
              <a:t>IBM Corpor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hlink"/>
          </a:solidFill>
          <a:latin typeface="Arial" pitchFamily="-112" charset="0"/>
          <a:ea typeface="MS PGothic" panose="020B0600070205080204" pitchFamily="34" charset="-128"/>
          <a:cs typeface="Arial" pitchFamily="-11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715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q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-228600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&gt;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24574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3718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829050" indent="-1714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-11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29668"/>
            <a:ext cx="2103120" cy="5791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08195" y="229668"/>
            <a:ext cx="2105840" cy="579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5150" y="6291072"/>
            <a:ext cx="914400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2174344F-C90D-A449-8092-23260DC06A0F}" type="datetime1">
              <a:rPr lang="en-US" smtClean="0"/>
              <a:t>7/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264" y="6291072"/>
            <a:ext cx="865886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World of Watson 2016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0188" y="6291072"/>
            <a:ext cx="457200" cy="2682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Page </a:t>
            </a:r>
            <a:fld id="{E4DBDE34-E9B5-E04F-B662-69720E4BCB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710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  <p:sldLayoutId id="2147484273" r:id="rId15"/>
    <p:sldLayoutId id="2147484274" r:id="rId16"/>
    <p:sldLayoutId id="2147484275" r:id="rId17"/>
    <p:sldLayoutId id="2147484276" r:id="rId18"/>
    <p:sldLayoutId id="2147484277" r:id="rId19"/>
    <p:sldLayoutId id="2147484278" r:id="rId20"/>
    <p:sldLayoutId id="2147484279" r:id="rId21"/>
    <p:sldLayoutId id="2147484280" r:id="rId22"/>
    <p:sldLayoutId id="2147484281" r:id="rId23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rgbClr val="FFFFFF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ts val="1500"/>
        </a:spcBef>
        <a:buFont typeface="Arial"/>
        <a:buNone/>
        <a:defRPr sz="2000" kern="1200">
          <a:solidFill>
            <a:srgbClr val="FFFFFF"/>
          </a:solidFill>
          <a:latin typeface="Arial"/>
          <a:ea typeface="+mn-ea"/>
          <a:cs typeface="Arial"/>
        </a:defRPr>
      </a:lvl1pPr>
      <a:lvl2pPr marL="173038" indent="-173038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FFFFFF"/>
          </a:solidFill>
          <a:latin typeface="Arial"/>
          <a:ea typeface="+mn-ea"/>
          <a:cs typeface="Arial"/>
        </a:defRPr>
      </a:lvl2pPr>
      <a:lvl3pPr marL="396875" indent="-173038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Arial"/>
          <a:ea typeface="+mn-ea"/>
          <a:cs typeface="Arial"/>
        </a:defRPr>
      </a:lvl3pPr>
      <a:lvl4pPr marL="625475" indent="-168275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FFFFFF"/>
          </a:solidFill>
          <a:latin typeface="Arial"/>
          <a:ea typeface="+mn-ea"/>
          <a:cs typeface="Arial"/>
        </a:defRPr>
      </a:lvl4pPr>
      <a:lvl5pPr marL="803275" indent="-173038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FFFFFF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9" descr="Analytics-pos-inline.png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" y="280988"/>
            <a:ext cx="1209675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5113" y="593725"/>
            <a:ext cx="854551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6700" y="1270000"/>
            <a:ext cx="8542338" cy="509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6149" name="Line 4"/>
          <p:cNvSpPr>
            <a:spLocks noChangeShapeType="1"/>
          </p:cNvSpPr>
          <p:nvPr/>
        </p:nvSpPr>
        <p:spPr bwMode="auto">
          <a:xfrm>
            <a:off x="258763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mtClean="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6150" name="Rectangle 6"/>
          <p:cNvSpPr>
            <a:spLocks noChangeArrowheads="1"/>
          </p:cNvSpPr>
          <p:nvPr/>
        </p:nvSpPr>
        <p:spPr bwMode="black">
          <a:xfrm>
            <a:off x="5934075" y="6481763"/>
            <a:ext cx="30543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900" smtClean="0">
                <a:solidFill>
                  <a:srgbClr val="000000"/>
                </a:solidFill>
              </a:rPr>
              <a:t>© 2017 IBM Corporation</a:t>
            </a:r>
          </a:p>
        </p:txBody>
      </p:sp>
      <p:sp>
        <p:nvSpPr>
          <p:cNvPr id="6151" name="Rectangle 6"/>
          <p:cNvSpPr>
            <a:spLocks noChangeArrowheads="1"/>
          </p:cNvSpPr>
          <p:nvPr/>
        </p:nvSpPr>
        <p:spPr bwMode="auto">
          <a:xfrm>
            <a:off x="190500" y="6456363"/>
            <a:ext cx="5524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572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FD2E1F4A-3E0C-48AD-9883-918100B0047B}" type="slidenum">
              <a:rPr lang="en-US" altLang="en-US" sz="10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pic>
        <p:nvPicPr>
          <p:cNvPr id="6152" name="Picture 7" descr="ibm_sp_lockup_western-0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8638" y="257175"/>
            <a:ext cx="81756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4054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b="1">
          <a:solidFill>
            <a:srgbClr val="000000"/>
          </a:solidFill>
          <a:latin typeface="+mn-lt"/>
          <a:ea typeface="+mn-ea"/>
          <a:cs typeface="ＭＳ Ｐゴシック" charset="0"/>
        </a:defRPr>
      </a:lvl1pPr>
      <a:lvl2pPr marL="515938" indent="-2254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-"/>
        <a:defRPr>
          <a:solidFill>
            <a:schemeClr val="tx1"/>
          </a:solidFill>
          <a:latin typeface="+mn-lt"/>
          <a:ea typeface="+mn-ea"/>
        </a:defRPr>
      </a:lvl2pPr>
      <a:lvl3pPr marL="804863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430338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1719263" indent="-79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chemeClr val="tx1"/>
          </a:solidFill>
          <a:latin typeface="+mn-lt"/>
          <a:ea typeface="+mn-ea"/>
        </a:defRPr>
      </a:lvl5pPr>
      <a:lvl6pPr marL="2176463" indent="-79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chemeClr val="tx1"/>
          </a:solidFill>
          <a:latin typeface="+mn-lt"/>
          <a:ea typeface="+mn-ea"/>
        </a:defRPr>
      </a:lvl6pPr>
      <a:lvl7pPr marL="2633663" indent="-79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chemeClr val="tx1"/>
          </a:solidFill>
          <a:latin typeface="+mn-lt"/>
          <a:ea typeface="+mn-ea"/>
        </a:defRPr>
      </a:lvl7pPr>
      <a:lvl8pPr marL="3090863" indent="-79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chemeClr val="tx1"/>
          </a:solidFill>
          <a:latin typeface="+mn-lt"/>
          <a:ea typeface="+mn-ea"/>
        </a:defRPr>
      </a:lvl8pPr>
      <a:lvl9pPr marL="3548063" indent="-79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Arthur_Samue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park.apache.org/docs/latest/ml-guide.html#estimators" TargetMode="External"/><Relationship Id="rId2" Type="http://schemas.openxmlformats.org/officeDocument/2006/relationships/hyperlink" Target="https://spark.apache.org/docs/latest/ml-guide.html#dataframe" TargetMode="External"/><Relationship Id="rId1" Type="http://schemas.openxmlformats.org/officeDocument/2006/relationships/slideLayout" Target="../slideLayouts/slideLayout40.xml"/><Relationship Id="rId4" Type="http://schemas.openxmlformats.org/officeDocument/2006/relationships/hyperlink" Target="https://spark.apache.org/docs/latest/ml-guide.html#pipeline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327025" y="1660779"/>
            <a:ext cx="8435975" cy="714375"/>
          </a:xfrm>
        </p:spPr>
        <p:txBody>
          <a:bodyPr anchor="t"/>
          <a:lstStyle/>
          <a:p>
            <a:pPr algn="ctr" eaLnBrk="1" hangingPunct="1">
              <a:tabLst>
                <a:tab pos="914400" algn="l"/>
              </a:tabLst>
            </a:pPr>
            <a:r>
              <a:rPr lang="en-US" altLang="en-US" sz="3600" dirty="0" smtClean="0">
                <a:latin typeface="Helvetica" panose="020B0604020202020204" pitchFamily="34" charset="0"/>
              </a:rPr>
              <a:t>Lab 2 - Machine </a:t>
            </a:r>
            <a:r>
              <a:rPr lang="en-US" altLang="en-US" sz="3600" dirty="0">
                <a:latin typeface="Helvetica" panose="020B0604020202020204" pitchFamily="34" charset="0"/>
              </a:rPr>
              <a:t>Learning</a:t>
            </a:r>
            <a:br>
              <a:rPr lang="en-US" altLang="en-US" sz="3600" dirty="0">
                <a:latin typeface="Helvetica" panose="020B0604020202020204" pitchFamily="34" charset="0"/>
              </a:rPr>
            </a:br>
            <a:endParaRPr lang="en-US" altLang="en-US" sz="3600" dirty="0">
              <a:latin typeface="Helvetica" panose="020B0604020202020204" pitchFamily="34" charset="0"/>
            </a:endParaRPr>
          </a:p>
        </p:txBody>
      </p:sp>
      <p:pic>
        <p:nvPicPr>
          <p:cNvPr id="5125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3368675"/>
            <a:ext cx="2286000" cy="12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971" y="571513"/>
            <a:ext cx="7401560" cy="598487"/>
          </a:xfrm>
        </p:spPr>
        <p:txBody>
          <a:bodyPr/>
          <a:lstStyle/>
          <a:p>
            <a:pPr algn="ctr"/>
            <a:r>
              <a:rPr lang="en-US" dirty="0"/>
              <a:t>Demo Data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343891"/>
              </p:ext>
            </p:extLst>
          </p:nvPr>
        </p:nvGraphicFramePr>
        <p:xfrm>
          <a:off x="496570" y="968400"/>
          <a:ext cx="7310120" cy="550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18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983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7843"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Fie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UU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Hash-based unique identif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>
                          <a:solidFill>
                            <a:srgbClr val="C00000"/>
                          </a:solidFill>
                        </a:rPr>
                        <a:t>VETTING_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nalyst vetting status : 100- PENDING, 10 </a:t>
                      </a:r>
                      <a:r>
                        <a:rPr lang="mr-IN" sz="900" baseline="0" dirty="0"/>
                        <a:t>–</a:t>
                      </a:r>
                      <a:r>
                        <a:rPr lang="en-US" sz="900" baseline="0" dirty="0"/>
                        <a:t> HIGH, 20 </a:t>
                      </a:r>
                      <a:r>
                        <a:rPr lang="mr-IN" sz="900" baseline="0" dirty="0"/>
                        <a:t>–</a:t>
                      </a:r>
                      <a:r>
                        <a:rPr lang="en-US" sz="900" baseline="0" dirty="0"/>
                        <a:t> MED, 10 - 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nam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 smtClean="0">
                          <a:solidFill>
                            <a:srgbClr val="00B050"/>
                          </a:solidFill>
                        </a:rPr>
                        <a:t>GENDER</a:t>
                      </a:r>
                      <a:endParaRPr lang="en-US" sz="900" b="1" baseline="0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G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age at time of trav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>
                          <a:solidFill>
                            <a:srgbClr val="00B050"/>
                          </a:solidFill>
                        </a:rPr>
                        <a:t>BIRTH_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birth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BIRTH_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full birth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BIRTH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ISO 2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>
                          <a:solidFill>
                            <a:srgbClr val="00B050"/>
                          </a:solidFill>
                        </a:rPr>
                        <a:t>OCCUP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occupation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DDR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US addr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SS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Social Security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ASSPORT_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Passport Nu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ASSPORT_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Passport Issuing 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>
                          <a:solidFill>
                            <a:srgbClr val="00B050"/>
                          </a:solidFill>
                        </a:rPr>
                        <a:t>PASS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Person Passport Issuing Country ISO 2 Cod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COUNTRYIES_VISI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The countries visited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="1" baseline="0" dirty="0">
                          <a:solidFill>
                            <a:srgbClr val="00B050"/>
                          </a:solidFill>
                        </a:rPr>
                        <a:t>COUNTRIES_VISITED_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The number of countries visited as declared on fo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effectLst/>
                        </a:rPr>
                        <a:t>ARRIVAL_AIR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RRIVAL Airport country code IS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IRPORT_ARRIVAL_I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RRIVAL Airport 3 character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IRPORT_ARRIVAL_MUNICIP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RRIVAL Airport Municipality Derived from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effectLst/>
                        </a:rPr>
                        <a:t>ARRIVAL_AIRPORT_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ARRIVAL Airport Region Derived from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effectLst/>
                        </a:rPr>
                        <a:t>DEPARTURE_AIRPORT_COUNTRY_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DEPARTURE Airport Country code IS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effectLst/>
                        </a:rPr>
                        <a:t>DEPARTURE_AIRPORT_I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DEPARTURE Airport 3 character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9485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effectLst/>
                        </a:rPr>
                        <a:t>DEPARTURE_AIRPORT_MUNICIP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aseline="0" dirty="0"/>
                        <a:t>DEPARTURE Airport Municipality Derived from Co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069580" y="1170000"/>
            <a:ext cx="171450" cy="133020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069580" y="1455420"/>
            <a:ext cx="171450" cy="133020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8286750" y="1135710"/>
            <a:ext cx="5829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arget</a:t>
            </a:r>
            <a:endParaRPr lang="en-US" sz="900" dirty="0"/>
          </a:p>
        </p:txBody>
      </p:sp>
      <p:sp>
        <p:nvSpPr>
          <p:cNvPr id="7" name="TextBox 6"/>
          <p:cNvSpPr txBox="1"/>
          <p:nvPr/>
        </p:nvSpPr>
        <p:spPr>
          <a:xfrm>
            <a:off x="8286750" y="1406514"/>
            <a:ext cx="6629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Feature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574866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12278"/>
            <a:ext cx="8805863" cy="5565711"/>
          </a:xfrm>
        </p:spPr>
        <p:txBody>
          <a:bodyPr/>
          <a:lstStyle/>
          <a:p>
            <a:r>
              <a:rPr lang="en-US" sz="1800" dirty="0"/>
              <a:t>Read </a:t>
            </a:r>
            <a:r>
              <a:rPr lang="en-US" sz="1800" dirty="0" smtClean="0"/>
              <a:t>in </a:t>
            </a:r>
            <a:r>
              <a:rPr lang="en-US" sz="1800" dirty="0"/>
              <a:t>dataset as a </a:t>
            </a:r>
            <a:r>
              <a:rPr lang="en-US" sz="1800" dirty="0" err="1"/>
              <a:t>DataFrame</a:t>
            </a:r>
            <a:r>
              <a:rPr lang="en-US" sz="1800" dirty="0"/>
              <a:t> from </a:t>
            </a:r>
            <a:r>
              <a:rPr lang="en-US" sz="1800" dirty="0" err="1" smtClean="0"/>
              <a:t>dashDB</a:t>
            </a:r>
            <a:endParaRPr lang="en-US" sz="1800" dirty="0"/>
          </a:p>
          <a:p>
            <a:pPr lvl="1"/>
            <a:r>
              <a:rPr lang="en-US" sz="1600" dirty="0" smtClean="0"/>
              <a:t>Connect to </a:t>
            </a:r>
            <a:r>
              <a:rPr lang="en-US" sz="1600" dirty="0" err="1" smtClean="0"/>
              <a:t>dashDB</a:t>
            </a:r>
            <a:endParaRPr lang="en-US" sz="1600" dirty="0" smtClean="0"/>
          </a:p>
          <a:p>
            <a:pPr lvl="1"/>
            <a:r>
              <a:rPr lang="en-US" sz="1600" dirty="0" smtClean="0"/>
              <a:t>Read in the data </a:t>
            </a:r>
          </a:p>
          <a:p>
            <a:pPr lvl="0">
              <a:buClr>
                <a:srgbClr val="000000"/>
              </a:buClr>
            </a:pPr>
            <a:r>
              <a:rPr lang="en-US" sz="1800" dirty="0" smtClean="0"/>
              <a:t>Identify Labels  </a:t>
            </a:r>
          </a:p>
          <a:p>
            <a:pPr lvl="1"/>
            <a:r>
              <a:rPr lang="en-US" sz="1600" dirty="0" smtClean="0"/>
              <a:t>Label the data (“VETTING_LEVEL”)</a:t>
            </a:r>
          </a:p>
          <a:p>
            <a:pPr lvl="1"/>
            <a:r>
              <a:rPr lang="en-US" sz="1600" dirty="0" smtClean="0"/>
              <a:t>Select features  </a:t>
            </a:r>
            <a:endParaRPr lang="en-US" sz="1600" dirty="0"/>
          </a:p>
          <a:p>
            <a:r>
              <a:rPr lang="en-US" sz="1800" dirty="0" smtClean="0"/>
              <a:t>Feature Engineering (Transformation)</a:t>
            </a:r>
          </a:p>
          <a:p>
            <a:pPr lvl="1"/>
            <a:r>
              <a:rPr lang="en-US" sz="1600" dirty="0" err="1" smtClean="0"/>
              <a:t>StringIndexer</a:t>
            </a:r>
            <a:r>
              <a:rPr lang="en-US" sz="1600" dirty="0" smtClean="0"/>
              <a:t> (occupation</a:t>
            </a:r>
            <a:r>
              <a:rPr lang="en-US" sz="1600" dirty="0"/>
              <a:t>, country, gender, birth year variables)</a:t>
            </a:r>
          </a:p>
          <a:p>
            <a:pPr lvl="1"/>
            <a:r>
              <a:rPr lang="en-US" sz="1600" dirty="0" err="1"/>
              <a:t>VectorAssembler</a:t>
            </a:r>
            <a:endParaRPr lang="en-US" sz="1600" dirty="0"/>
          </a:p>
          <a:p>
            <a:pPr lvl="1"/>
            <a:r>
              <a:rPr lang="en-US" sz="1600" dirty="0" smtClean="0"/>
              <a:t>Normalizer</a:t>
            </a:r>
            <a:endParaRPr lang="en-US" sz="1600" dirty="0"/>
          </a:p>
          <a:p>
            <a:r>
              <a:rPr lang="en-US" sz="1800" dirty="0" smtClean="0"/>
              <a:t>Define Model and Setup Pipeline</a:t>
            </a:r>
          </a:p>
          <a:p>
            <a:pPr lvl="1"/>
            <a:r>
              <a:rPr lang="en-US" sz="1600" dirty="0" smtClean="0"/>
              <a:t>Naïve Bayes</a:t>
            </a:r>
          </a:p>
          <a:p>
            <a:r>
              <a:rPr lang="en-US" sz="1800" dirty="0" smtClean="0"/>
              <a:t>Train the Model </a:t>
            </a:r>
          </a:p>
          <a:p>
            <a:pPr lvl="1"/>
            <a:r>
              <a:rPr lang="en-US" sz="1600" dirty="0"/>
              <a:t>S</a:t>
            </a:r>
            <a:r>
              <a:rPr lang="en-US" sz="1600" dirty="0" smtClean="0"/>
              <a:t>plit input </a:t>
            </a:r>
            <a:r>
              <a:rPr lang="en-US" sz="1600" dirty="0"/>
              <a:t>data into Training </a:t>
            </a:r>
            <a:r>
              <a:rPr lang="en-US" sz="1600" dirty="0" smtClean="0"/>
              <a:t>(70</a:t>
            </a:r>
            <a:r>
              <a:rPr lang="en-US" sz="1600" dirty="0"/>
              <a:t>%) and Test </a:t>
            </a:r>
            <a:r>
              <a:rPr lang="en-US" sz="1600" dirty="0" smtClean="0"/>
              <a:t>(30</a:t>
            </a:r>
            <a:r>
              <a:rPr lang="en-US" sz="1600" dirty="0"/>
              <a:t>%) </a:t>
            </a:r>
            <a:r>
              <a:rPr lang="en-US" sz="1600" dirty="0" err="1" smtClean="0"/>
              <a:t>DataFrames</a:t>
            </a:r>
            <a:endParaRPr lang="en-US" sz="1600" dirty="0"/>
          </a:p>
          <a:p>
            <a:pPr lvl="1"/>
            <a:r>
              <a:rPr lang="en-US" sz="1600" dirty="0"/>
              <a:t>Cache the resulting </a:t>
            </a:r>
            <a:r>
              <a:rPr lang="en-US" sz="1600" dirty="0" err="1" smtClean="0"/>
              <a:t>DataFrames</a:t>
            </a:r>
            <a:endParaRPr lang="en-US" sz="1600" dirty="0" smtClean="0"/>
          </a:p>
          <a:p>
            <a:pPr lvl="1"/>
            <a:r>
              <a:rPr lang="en-US" sz="1600" dirty="0" smtClean="0"/>
              <a:t>Fit the Pipeline to the Training data set </a:t>
            </a:r>
          </a:p>
          <a:p>
            <a:pPr marL="290513" lvl="1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3488" y="1212279"/>
            <a:ext cx="2657475" cy="172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161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Flow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00" y="1284287"/>
            <a:ext cx="8805863" cy="4208173"/>
          </a:xfrm>
        </p:spPr>
        <p:txBody>
          <a:bodyPr/>
          <a:lstStyle/>
          <a:p>
            <a:r>
              <a:rPr lang="en-US" sz="1800" dirty="0"/>
              <a:t>Evaluate the resulting predictions</a:t>
            </a:r>
          </a:p>
          <a:p>
            <a:pPr lvl="1"/>
            <a:r>
              <a:rPr lang="en-US" sz="1600" dirty="0"/>
              <a:t>Area under the ROC curve</a:t>
            </a:r>
          </a:p>
          <a:p>
            <a:endParaRPr lang="en-US" dirty="0"/>
          </a:p>
          <a:p>
            <a:r>
              <a:rPr lang="en-US" sz="1800" dirty="0"/>
              <a:t>Tune the model (</a:t>
            </a:r>
            <a:r>
              <a:rPr lang="en-US" sz="1800" dirty="0" err="1"/>
              <a:t>hyperparamaters</a:t>
            </a:r>
            <a:r>
              <a:rPr lang="en-US" sz="1800" dirty="0"/>
              <a:t>)</a:t>
            </a:r>
          </a:p>
          <a:p>
            <a:pPr lvl="1"/>
            <a:r>
              <a:rPr lang="en-US" sz="1600" dirty="0"/>
              <a:t>Build Parameter Grid</a:t>
            </a:r>
          </a:p>
          <a:p>
            <a:pPr lvl="1"/>
            <a:r>
              <a:rPr lang="en-US" sz="1600" dirty="0"/>
              <a:t>Cross-evaluate to find the best model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sz="1800" dirty="0" smtClean="0"/>
              <a:t>Score the </a:t>
            </a:r>
            <a:r>
              <a:rPr lang="en-US" sz="1800" dirty="0" err="1" smtClean="0"/>
              <a:t>unvetted</a:t>
            </a:r>
            <a:r>
              <a:rPr lang="en-US" sz="1800" dirty="0" smtClean="0"/>
              <a:t> records  </a:t>
            </a:r>
          </a:p>
          <a:p>
            <a:pPr lvl="1"/>
            <a:r>
              <a:rPr lang="en-US" sz="1600" dirty="0" smtClean="0"/>
              <a:t>Use Best Model to Score </a:t>
            </a:r>
            <a:r>
              <a:rPr lang="en-US" sz="1600" dirty="0" err="1" smtClean="0"/>
              <a:t>unvetted</a:t>
            </a:r>
            <a:r>
              <a:rPr lang="en-US" sz="1600" dirty="0" smtClean="0"/>
              <a:t> records (VETTING LEVEL == 100)</a:t>
            </a:r>
          </a:p>
          <a:p>
            <a:pPr lvl="1"/>
            <a:r>
              <a:rPr lang="en-US" sz="1600" dirty="0" smtClean="0"/>
              <a:t>Write results into </a:t>
            </a:r>
            <a:r>
              <a:rPr lang="en-US" sz="1600" dirty="0" err="1" smtClean="0"/>
              <a:t>DashDB</a:t>
            </a:r>
            <a:r>
              <a:rPr lang="en-US" sz="1600" dirty="0" smtClean="0"/>
              <a:t> table</a:t>
            </a:r>
          </a:p>
          <a:p>
            <a:endParaRPr lang="en-US" dirty="0"/>
          </a:p>
          <a:p>
            <a:pPr marL="342900" lvl="1" indent="0"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7931" y="755650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98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dirty="0" smtClean="0"/>
              <a:t>Classification - Naïve Bayes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57334" y="1273378"/>
            <a:ext cx="8607623" cy="3073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000" b="1">
                <a:solidFill>
                  <a:srgbClr val="000000"/>
                </a:solidFill>
                <a:latin typeface="+mn-lt"/>
                <a:ea typeface="+mn-ea"/>
                <a:cs typeface="ＭＳ Ｐゴシック" charset="0"/>
              </a:defRPr>
            </a:lvl1pPr>
            <a:lvl2pPr marL="515938" indent="-2254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804863" indent="-1714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430338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1719263" indent="-79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  <a:ea typeface="+mn-ea"/>
              </a:defRPr>
            </a:lvl5pPr>
            <a:lvl6pPr marL="2176463" indent="-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33663" indent="-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90863" indent="-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8063" indent="-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kern="0" smtClean="0"/>
              <a:t>Two or more outcomes.</a:t>
            </a:r>
          </a:p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kern="0" smtClean="0"/>
              <a:t>Assumes independence among explanatory variables, which is rarely true (thus “naïve”).</a:t>
            </a:r>
          </a:p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kern="0" smtClean="0"/>
              <a:t>Despite its simplicity, often performs very well… widely used.</a:t>
            </a:r>
          </a:p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kern="0" smtClean="0"/>
              <a:t>Significant use cases: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sz="1800" kern="0" smtClean="0"/>
              <a:t>Text categorization (spam vs. legitimate, sports or politics, etc.) using word frequencies as the features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sz="1800" kern="0" smtClean="0"/>
              <a:t>Medical diagnosis (</a:t>
            </a:r>
            <a:r>
              <a:rPr lang="en-US" sz="1800" i="1" kern="0" smtClean="0"/>
              <a:t>e.g.</a:t>
            </a:r>
            <a:r>
              <a:rPr lang="en-US" sz="1800" kern="0" smtClean="0"/>
              <a:t>, automatic screening)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1262398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4" name="Picture 4" descr="5300_IBM_Bla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1550" y="3009900"/>
            <a:ext cx="2220913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0762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dirty="0" smtClean="0"/>
              <a:t>What is Machine Learning?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65100" y="1339533"/>
            <a:ext cx="8805863" cy="516731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“The ability of a computer to learn without being explicitly programmed” 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 </a:t>
            </a:r>
            <a:r>
              <a:rPr lang="en-US" dirty="0" smtClean="0">
                <a:hlinkClick r:id="rId3" tooltip="Arthur Samuel"/>
              </a:rPr>
              <a:t>Arthur Samuel</a:t>
            </a:r>
            <a:r>
              <a:rPr lang="en-US" dirty="0" smtClean="0"/>
              <a:t> </a:t>
            </a:r>
            <a:r>
              <a:rPr lang="mr-IN" dirty="0" smtClean="0"/>
              <a:t>–</a:t>
            </a:r>
            <a:r>
              <a:rPr lang="en-US" dirty="0" smtClean="0"/>
              <a:t> </a:t>
            </a:r>
            <a:r>
              <a:rPr lang="en-US" dirty="0" err="1" smtClean="0"/>
              <a:t>IBM’er</a:t>
            </a:r>
            <a:r>
              <a:rPr lang="en-US" dirty="0" smtClean="0"/>
              <a:t> and Stanford Professor </a:t>
            </a:r>
            <a:r>
              <a:rPr lang="en-US" dirty="0"/>
              <a:t>in </a:t>
            </a:r>
            <a:r>
              <a:rPr lang="en-US" dirty="0" smtClean="0"/>
              <a:t>1959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“Systems that can learn from data”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04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dirty="0" smtClean="0"/>
              <a:t>Categories of Machine Learning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65100" y="1236663"/>
            <a:ext cx="8805863" cy="4009707"/>
          </a:xfrm>
        </p:spPr>
        <p:txBody>
          <a:bodyPr/>
          <a:lstStyle/>
          <a:p>
            <a:r>
              <a:rPr lang="en-US" dirty="0"/>
              <a:t>Supervised learning</a:t>
            </a:r>
          </a:p>
          <a:p>
            <a:pPr lvl="1"/>
            <a:r>
              <a:rPr lang="en-US" dirty="0"/>
              <a:t>The program is “trained” on a pre-defined set of “training examples”, which then facilitate its ability to reach an accurate conclusion when given new data</a:t>
            </a:r>
          </a:p>
          <a:p>
            <a:pPr lvl="1"/>
            <a:r>
              <a:rPr lang="en-US" dirty="0"/>
              <a:t>The algorithm is presented with example inputs and their </a:t>
            </a:r>
            <a:r>
              <a:rPr lang="en-US" dirty="0" smtClean="0"/>
              <a:t>outcomes (labels) </a:t>
            </a:r>
            <a:endParaRPr lang="en-US" dirty="0"/>
          </a:p>
          <a:p>
            <a:pPr lvl="1"/>
            <a:r>
              <a:rPr lang="en-US" dirty="0"/>
              <a:t>The goal is to learn a general rule that maps inputs to output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nsupervised learning</a:t>
            </a:r>
          </a:p>
          <a:p>
            <a:pPr lvl="1"/>
            <a:r>
              <a:rPr lang="en-US" dirty="0"/>
              <a:t>No labels are given to the learning algorithm, leaving it on its own to find structure (patterns and relationships) in its </a:t>
            </a:r>
            <a:r>
              <a:rPr lang="en-US" dirty="0" smtClean="0"/>
              <a:t>input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6159" y="5246370"/>
            <a:ext cx="2383743" cy="140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473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20" name="Title 1"/>
          <p:cNvSpPr>
            <a:spLocks noGrp="1"/>
          </p:cNvSpPr>
          <p:nvPr>
            <p:ph type="title"/>
          </p:nvPr>
        </p:nvSpPr>
        <p:spPr>
          <a:xfrm>
            <a:off x="274320" y="593725"/>
            <a:ext cx="8545512" cy="686435"/>
          </a:xfrm>
        </p:spPr>
        <p:txBody>
          <a:bodyPr/>
          <a:lstStyle/>
          <a:p>
            <a:pPr algn="ctr" eaLnBrk="1" hangingPunct="1"/>
            <a:r>
              <a:rPr lang="en-US" sz="2600" b="1" dirty="0" smtClean="0"/>
              <a:t>Categories of Machine Learning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0797235"/>
              </p:ext>
            </p:extLst>
          </p:nvPr>
        </p:nvGraphicFramePr>
        <p:xfrm>
          <a:off x="457200" y="1119554"/>
          <a:ext cx="8153400" cy="4922528"/>
        </p:xfrm>
        <a:graphic>
          <a:graphicData uri="http://schemas.openxmlformats.org/drawingml/2006/table">
            <a:tbl>
              <a:tblPr/>
              <a:tblGrid>
                <a:gridCol w="1755775"/>
                <a:gridCol w="3967163"/>
                <a:gridCol w="2430462"/>
              </a:tblGrid>
              <a:tr h="36512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Technique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D7A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Usage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D7A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Algorithms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D7AB3"/>
                    </a:solidFill>
                  </a:tcPr>
                </a:tc>
              </a:tr>
              <a:tr h="1189038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Classification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(or prediction)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Used to predict group membership (e.g., will this employee leave?) or a number (e.g., how many widgets will I sell?)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Decision Trees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Logistic Regression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Random Forests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Naïve Bayes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Linear Regression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Lasso Regression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etc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</a:tr>
              <a:tr h="1630664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Segmentation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F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Used to classify data points into groups that are internally homogenous and externally heterogeneous.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A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Identify cases that are unusual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F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K-means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Gaussian Mixture</a:t>
                      </a:r>
                    </a:p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Latent </a:t>
                      </a: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Dirichlet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 allocation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etc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F"/>
                    </a:solidFill>
                  </a:tcPr>
                </a:tc>
              </a:tr>
              <a:tr h="91440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Association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Used to find events that occur together or in a sequence (e.g., market basket)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FP Growth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AFE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026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Title 1"/>
          <p:cNvSpPr>
            <a:spLocks noGrp="1"/>
          </p:cNvSpPr>
          <p:nvPr>
            <p:ph type="title"/>
          </p:nvPr>
        </p:nvSpPr>
        <p:spPr>
          <a:xfrm>
            <a:off x="265113" y="593725"/>
            <a:ext cx="8545512" cy="425450"/>
          </a:xfrm>
        </p:spPr>
        <p:txBody>
          <a:bodyPr/>
          <a:lstStyle/>
          <a:p>
            <a:pPr eaLnBrk="1" hangingPunct="1"/>
            <a:r>
              <a:rPr lang="en-US" altLang="en-US" b="1"/>
              <a:t>Preprocessing: </a:t>
            </a:r>
            <a:r>
              <a:rPr lang="en-US" altLang="en-US" b="1">
                <a:solidFill>
                  <a:srgbClr val="4F81BD"/>
                </a:solidFill>
              </a:rPr>
              <a:t>Matrix for Machine Learning</a:t>
            </a:r>
          </a:p>
        </p:txBody>
      </p:sp>
      <p:sp>
        <p:nvSpPr>
          <p:cNvPr id="177155" name="Rectangle 3"/>
          <p:cNvSpPr>
            <a:spLocks noChangeArrowheads="1"/>
          </p:cNvSpPr>
          <p:nvPr/>
        </p:nvSpPr>
        <p:spPr bwMode="auto">
          <a:xfrm>
            <a:off x="3089275" y="1797050"/>
            <a:ext cx="3125788" cy="40814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855663" indent="-173038">
              <a:spcBef>
                <a:spcPct val="20000"/>
              </a:spcBef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160463" indent="-22860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371600" indent="-173038">
              <a:spcBef>
                <a:spcPct val="20000"/>
              </a:spcBef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828800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286000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743200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200400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>
              <a:solidFill>
                <a:schemeClr val="tx1"/>
              </a:solidFill>
              <a:latin typeface="Comic Sans MS" panose="030F0702030302020204" pitchFamily="66" charset="0"/>
              <a:cs typeface="Arial" panose="020B0604020202020204" pitchFamily="34" charset="0"/>
            </a:endParaRPr>
          </a:p>
        </p:txBody>
      </p:sp>
      <p:sp>
        <p:nvSpPr>
          <p:cNvPr id="177156" name="Line 5"/>
          <p:cNvSpPr>
            <a:spLocks noChangeShapeType="1"/>
          </p:cNvSpPr>
          <p:nvPr/>
        </p:nvSpPr>
        <p:spPr bwMode="auto">
          <a:xfrm>
            <a:off x="5910263" y="1801813"/>
            <a:ext cx="0" cy="4079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 bwMode="auto">
          <a:xfrm>
            <a:off x="6686550" y="2962275"/>
            <a:ext cx="237648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</a:rPr>
              <a:t>Known as: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Label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Target variable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Dependent </a:t>
            </a:r>
            <a:r>
              <a:rPr lang="en-US" sz="1600" dirty="0" smtClean="0">
                <a:solidFill>
                  <a:srgbClr val="000000"/>
                </a:solidFill>
                <a:ea typeface="+mn-ea"/>
              </a:rPr>
              <a:t>variable</a:t>
            </a:r>
          </a:p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  <a:ea typeface="+mn-ea"/>
              </a:rPr>
              <a:t>Scale or Categorical</a:t>
            </a:r>
            <a:endParaRPr lang="en-US" sz="16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174625" y="1362075"/>
            <a:ext cx="2309813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</a:rPr>
              <a:t>Known as: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 smtClean="0">
                <a:solidFill>
                  <a:srgbClr val="000000"/>
                </a:solidFill>
                <a:ea typeface="+mn-ea"/>
              </a:rPr>
              <a:t>Attributes</a:t>
            </a:r>
          </a:p>
          <a:p>
            <a:pPr marL="171450" indent="-171450">
              <a:buFontTx/>
              <a:buChar char="-"/>
              <a:defRPr/>
            </a:pPr>
            <a:r>
              <a:rPr lang="en-US" dirty="0" smtClean="0">
                <a:solidFill>
                  <a:srgbClr val="000000"/>
                </a:solidFill>
                <a:ea typeface="+mn-ea"/>
              </a:rPr>
              <a:t>Features</a:t>
            </a:r>
            <a:endParaRPr lang="en-US" sz="1600" dirty="0">
              <a:solidFill>
                <a:srgbClr val="000000"/>
              </a:solidFill>
              <a:ea typeface="+mn-ea"/>
            </a:endParaRP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Predictor variables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Explanatory variables</a:t>
            </a:r>
          </a:p>
        </p:txBody>
      </p:sp>
      <p:sp>
        <p:nvSpPr>
          <p:cNvPr id="3" name="TextBox 2"/>
          <p:cNvSpPr txBox="1"/>
          <p:nvPr/>
        </p:nvSpPr>
        <p:spPr bwMode="auto">
          <a:xfrm>
            <a:off x="3089275" y="1522413"/>
            <a:ext cx="31257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ea typeface="+mn-ea"/>
              </a:rPr>
              <a:t>a1     a2     a3     a4     a5     a6     a7     a8     a9     t</a:t>
            </a:r>
          </a:p>
        </p:txBody>
      </p:sp>
      <p:cxnSp>
        <p:nvCxnSpPr>
          <p:cNvPr id="15" name="Straight Arrow Connector 14"/>
          <p:cNvCxnSpPr/>
          <p:nvPr/>
        </p:nvCxnSpPr>
        <p:spPr bwMode="auto">
          <a:xfrm flipH="1" flipV="1">
            <a:off x="6113463" y="2000250"/>
            <a:ext cx="1296987" cy="99853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Arrow Connector 19"/>
          <p:cNvCxnSpPr>
            <a:stCxn id="9" idx="3"/>
          </p:cNvCxnSpPr>
          <p:nvPr/>
        </p:nvCxnSpPr>
        <p:spPr bwMode="auto">
          <a:xfrm flipV="1">
            <a:off x="2484438" y="1700213"/>
            <a:ext cx="431800" cy="3235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 bwMode="auto">
          <a:xfrm>
            <a:off x="174625" y="2924175"/>
            <a:ext cx="2914650" cy="354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</a:rPr>
              <a:t>Scale variables: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Continuous variables, which can be measured on an interval scale or ratio scale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‘Weight’, ‘Temperature’, ‘Salary’, etc…</a:t>
            </a:r>
            <a:br>
              <a:rPr lang="en-US" sz="1600" dirty="0">
                <a:solidFill>
                  <a:srgbClr val="000000"/>
                </a:solidFill>
                <a:ea typeface="+mn-ea"/>
              </a:rPr>
            </a:br>
            <a:endParaRPr lang="en-US" sz="1600" dirty="0">
              <a:solidFill>
                <a:srgbClr val="000000"/>
              </a:solidFill>
              <a:ea typeface="+mn-ea"/>
            </a:endParaRPr>
          </a:p>
          <a:p>
            <a:pPr>
              <a:defRPr/>
            </a:pPr>
            <a:r>
              <a:rPr lang="en-US" sz="1600" u="sng" dirty="0">
                <a:solidFill>
                  <a:srgbClr val="000000"/>
                </a:solidFill>
                <a:ea typeface="+mn-ea"/>
              </a:rPr>
              <a:t>Categorical variables: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Data with a limited number of distinct values or categories (nominal or ordinal)</a:t>
            </a:r>
          </a:p>
          <a:p>
            <a:pPr marL="171450" indent="-171450">
              <a:buFontTx/>
              <a:buChar char="-"/>
              <a:defRPr/>
            </a:pPr>
            <a:r>
              <a:rPr lang="en-US" sz="1600" dirty="0">
                <a:solidFill>
                  <a:srgbClr val="000000"/>
                </a:solidFill>
                <a:ea typeface="+mn-ea"/>
              </a:rPr>
              <a:t>‘Hair color’, ‘Gender’, ‘Grape varieties’, etc…</a:t>
            </a:r>
          </a:p>
        </p:txBody>
      </p:sp>
      <p:cxnSp>
        <p:nvCxnSpPr>
          <p:cNvPr id="24" name="Straight Arrow Connector 23"/>
          <p:cNvCxnSpPr/>
          <p:nvPr/>
        </p:nvCxnSpPr>
        <p:spPr bwMode="auto">
          <a:xfrm flipV="1">
            <a:off x="2700338" y="3573463"/>
            <a:ext cx="1757362" cy="79216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5142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raining, testing, &amp; validation sets</a:t>
            </a:r>
            <a:endParaRPr lang="en-US" alt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7199948" y="609600"/>
            <a:ext cx="1913572" cy="937260"/>
            <a:chOff x="4172903" y="617220"/>
            <a:chExt cx="2380297" cy="1165860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172903" y="657225"/>
              <a:ext cx="2352675" cy="1123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5745480" y="617220"/>
              <a:ext cx="335280" cy="76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497320" y="1356360"/>
              <a:ext cx="55880" cy="4267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During the model development process, supervised learning techniques employ </a:t>
            </a:r>
            <a:r>
              <a:rPr lang="en-US" dirty="0">
                <a:solidFill>
                  <a:schemeClr val="accent6"/>
                </a:solidFill>
              </a:rPr>
              <a:t>training</a:t>
            </a:r>
            <a:r>
              <a:rPr lang="en-US" dirty="0"/>
              <a:t> and </a:t>
            </a:r>
            <a:r>
              <a:rPr lang="en-US" dirty="0">
                <a:solidFill>
                  <a:schemeClr val="accent6"/>
                </a:solidFill>
              </a:rPr>
              <a:t>testing</a:t>
            </a:r>
            <a:r>
              <a:rPr lang="en-US" dirty="0"/>
              <a:t> sets and sometimes a </a:t>
            </a:r>
            <a:r>
              <a:rPr lang="en-US" dirty="0">
                <a:solidFill>
                  <a:schemeClr val="accent6"/>
                </a:solidFill>
              </a:rPr>
              <a:t>validation</a:t>
            </a:r>
            <a:r>
              <a:rPr lang="en-US" dirty="0"/>
              <a:t> set.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Historical data with known outcome 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dirty="0" smtClean="0"/>
              <a:t>Data is randomly </a:t>
            </a:r>
            <a:r>
              <a:rPr lang="en-US" dirty="0"/>
              <a:t>split </a:t>
            </a:r>
            <a:r>
              <a:rPr lang="en-US" dirty="0" smtClean="0"/>
              <a:t>into training, testing, and/or validation sets (mutually </a:t>
            </a:r>
            <a:r>
              <a:rPr lang="en-US" dirty="0"/>
              <a:t>exclusive </a:t>
            </a:r>
            <a:r>
              <a:rPr lang="en-US" dirty="0" smtClean="0"/>
              <a:t>records)</a:t>
            </a:r>
            <a:endParaRPr lang="en-US" dirty="0"/>
          </a:p>
          <a:p>
            <a:pPr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Why?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Training set </a:t>
            </a:r>
            <a:endParaRPr lang="en-US" dirty="0" smtClean="0"/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B</a:t>
            </a:r>
            <a:r>
              <a:rPr lang="en-US" dirty="0" smtClean="0"/>
              <a:t>uild </a:t>
            </a:r>
            <a:r>
              <a:rPr lang="en-US" dirty="0"/>
              <a:t>the model </a:t>
            </a:r>
            <a:endParaRPr lang="en-US" dirty="0" smtClean="0"/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 smtClean="0"/>
              <a:t>Tune the parameters </a:t>
            </a:r>
            <a:endParaRPr lang="en-US" dirty="0"/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Testing set </a:t>
            </a:r>
            <a:r>
              <a:rPr lang="en-US" dirty="0" smtClean="0">
                <a:sym typeface="Wingdings" pitchFamily="2" charset="2"/>
              </a:rPr>
              <a:t> </a:t>
            </a:r>
            <a:endParaRPr lang="en-US" dirty="0"/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Assess model quality during </a:t>
            </a:r>
            <a:r>
              <a:rPr lang="en-US" dirty="0" smtClean="0"/>
              <a:t>training/tuning </a:t>
            </a:r>
            <a:r>
              <a:rPr lang="en-US" dirty="0"/>
              <a:t>process</a:t>
            </a:r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Avoid overfitting the model to the training set</a:t>
            </a:r>
          </a:p>
          <a:p>
            <a:pPr lvl="1">
              <a:spcBef>
                <a:spcPts val="84"/>
              </a:spcBef>
              <a:spcAft>
                <a:spcPts val="168"/>
              </a:spcAft>
            </a:pPr>
            <a:r>
              <a:rPr lang="en-US" dirty="0"/>
              <a:t>Validation set </a:t>
            </a:r>
            <a:endParaRPr lang="en-US" dirty="0" smtClean="0"/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 smtClean="0">
                <a:sym typeface="Wingdings" pitchFamily="2" charset="2"/>
              </a:rPr>
              <a:t>Estimate accuracy or error rate of model after tuning </a:t>
            </a:r>
          </a:p>
          <a:p>
            <a:pPr lvl="2">
              <a:spcBef>
                <a:spcPts val="84"/>
              </a:spcBef>
              <a:spcAft>
                <a:spcPts val="168"/>
              </a:spcAft>
            </a:pPr>
            <a:r>
              <a:rPr lang="en-US" dirty="0" smtClean="0">
                <a:sym typeface="Wingdings" pitchFamily="2" charset="2"/>
              </a:rPr>
              <a:t>Used to compare multiple models </a:t>
            </a:r>
            <a:endParaRPr lang="en-US" dirty="0"/>
          </a:p>
          <a:p>
            <a:pPr marL="633413" lvl="2" indent="0">
              <a:spcBef>
                <a:spcPts val="84"/>
              </a:spcBef>
              <a:spcAft>
                <a:spcPts val="168"/>
              </a:spcAft>
              <a:buNone/>
            </a:pP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848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US" altLang="en-US" dirty="0" smtClean="0"/>
              <a:t>Spark M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66700" y="1270000"/>
            <a:ext cx="8542338" cy="5099050"/>
          </a:xfrm>
        </p:spPr>
        <p:txBody>
          <a:bodyPr/>
          <a:lstStyle/>
          <a:p>
            <a:r>
              <a:rPr lang="en-US" altLang="en-US" dirty="0"/>
              <a:t>Spark ML is Spark’s machine learning (ML) library</a:t>
            </a:r>
          </a:p>
          <a:p>
            <a:pPr marL="0" indent="0">
              <a:buNone/>
            </a:pPr>
            <a:endParaRPr lang="en-US" altLang="en-US" b="0" dirty="0"/>
          </a:p>
          <a:p>
            <a:r>
              <a:rPr lang="en-US" altLang="en-US" dirty="0" smtClean="0"/>
              <a:t>Goal </a:t>
            </a:r>
            <a:r>
              <a:rPr lang="en-US" altLang="en-US" dirty="0"/>
              <a:t>is to make </a:t>
            </a:r>
            <a:r>
              <a:rPr lang="en-US" altLang="en-US" dirty="0" smtClean="0"/>
              <a:t>machine </a:t>
            </a:r>
            <a:r>
              <a:rPr lang="en-US" altLang="en-US" dirty="0"/>
              <a:t>learning scalable and easy</a:t>
            </a:r>
          </a:p>
          <a:p>
            <a:pPr lvl="1"/>
            <a:r>
              <a:rPr lang="en-US" altLang="en-US" dirty="0" smtClean="0"/>
              <a:t>No need to understand the detailed math!</a:t>
            </a:r>
            <a:endParaRPr lang="en-US" altLang="en-US" b="0" dirty="0"/>
          </a:p>
          <a:p>
            <a:endParaRPr lang="en-US" altLang="en-US" b="0" dirty="0" smtClean="0"/>
          </a:p>
          <a:p>
            <a:r>
              <a:rPr lang="en-US" altLang="en-US" dirty="0" smtClean="0"/>
              <a:t>Divides </a:t>
            </a:r>
            <a:r>
              <a:rPr lang="en-US" altLang="en-US" dirty="0"/>
              <a:t>into two packages:</a:t>
            </a:r>
          </a:p>
          <a:p>
            <a:pPr lvl="1"/>
            <a:r>
              <a:rPr lang="en-US" altLang="en-US" dirty="0" err="1"/>
              <a:t>spark.mllib</a:t>
            </a:r>
            <a:r>
              <a:rPr lang="en-US" altLang="en-US" dirty="0"/>
              <a:t> contains the original API built on top of RDDs</a:t>
            </a:r>
          </a:p>
          <a:p>
            <a:pPr lvl="1"/>
            <a:r>
              <a:rPr lang="en-US" altLang="en-US" dirty="0"/>
              <a:t>spark.ml provides higher-level API built on top of </a:t>
            </a:r>
            <a:r>
              <a:rPr lang="en-US" altLang="en-US" dirty="0" err="1"/>
              <a:t>DataFrames</a:t>
            </a:r>
            <a:r>
              <a:rPr lang="en-US" altLang="en-US" dirty="0"/>
              <a:t> for constructing ML </a:t>
            </a:r>
            <a:r>
              <a:rPr lang="en-US" altLang="en-US" dirty="0" smtClean="0"/>
              <a:t>pipelines</a:t>
            </a:r>
          </a:p>
          <a:p>
            <a:pPr lvl="1"/>
            <a:r>
              <a:rPr lang="en-US" altLang="en-US" dirty="0" smtClean="0"/>
              <a:t>A </a:t>
            </a:r>
            <a:r>
              <a:rPr lang="en-US" altLang="en-US" u="sng" dirty="0" smtClean="0"/>
              <a:t>pipeline</a:t>
            </a:r>
            <a:r>
              <a:rPr lang="en-US" altLang="en-US" dirty="0" smtClean="0"/>
              <a:t> is a series of stages where each stage either transforms, or runs through a machine learning algorithm.</a:t>
            </a:r>
          </a:p>
          <a:p>
            <a:pPr marL="290513" lvl="1" indent="0">
              <a:buNone/>
            </a:pPr>
            <a:endParaRPr lang="en-US" altLang="en-US" b="0" dirty="0"/>
          </a:p>
          <a:p>
            <a:r>
              <a:rPr lang="en-US" altLang="en-US" dirty="0"/>
              <a:t>Using spark.ml is recommended because with </a:t>
            </a:r>
            <a:r>
              <a:rPr lang="en-US" altLang="en-US" dirty="0" err="1"/>
              <a:t>DataFrames</a:t>
            </a:r>
            <a:r>
              <a:rPr lang="en-US" altLang="en-US" dirty="0"/>
              <a:t> the API is more versatile and flexible</a:t>
            </a:r>
          </a:p>
          <a:p>
            <a:pPr lvl="1"/>
            <a:r>
              <a:rPr lang="en-US" altLang="en-US" dirty="0" err="1"/>
              <a:t>spark.mllib</a:t>
            </a:r>
            <a:r>
              <a:rPr lang="en-US" altLang="en-US" dirty="0"/>
              <a:t> will continue to be supported</a:t>
            </a:r>
          </a:p>
        </p:txBody>
      </p:sp>
    </p:spTree>
    <p:extLst>
      <p:ext uri="{BB962C8B-B14F-4D97-AF65-F5344CB8AC3E}">
        <p14:creationId xmlns:p14="http://schemas.microsoft.com/office/powerpoint/2010/main" val="272248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park ML Pipeline Terminology</a:t>
            </a:r>
          </a:p>
        </p:txBody>
      </p:sp>
      <p:sp>
        <p:nvSpPr>
          <p:cNvPr id="5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165101" y="1127292"/>
            <a:ext cx="8640572" cy="5386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Tx/>
              <a:buNone/>
            </a:pPr>
            <a:r>
              <a:rPr lang="en-US" b="0" dirty="0"/>
              <a:t>Spark ML standardizes APIs for machine learning algorithms to make it easier to combine multiple algorithms into a single pipeline, or workflow</a:t>
            </a:r>
          </a:p>
          <a:p>
            <a:pPr marL="0" indent="0">
              <a:buClrTx/>
              <a:buNone/>
            </a:pPr>
            <a:endParaRPr lang="en-US" altLang="en-US" b="0" dirty="0">
              <a:hlinkClick r:id="rId2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hlinkClick r:id="rId2"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Spark ML uses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from Spark SQL as an ML dataset, which can hold a variety of data type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 action="ppaction://noaction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 action="ppaction://noaction"/>
              </a:rPr>
              <a:t>Transform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Transformer is an algorithm which can transform one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into another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3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3"/>
              </a:rPr>
              <a:t>Estimato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n Estimator is an algorithm which can be fit on a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DataFram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to produce a Transformer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0" dirty="0">
              <a:hlinkClick r:id="rId4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rId4"/>
              </a:rPr>
              <a:t>Pipeline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 Pipeline chains multiple Transformers and Estimators together </a:t>
            </a:r>
            <a:r>
              <a:rPr kumimoji="0" lang="en-US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in a sequence to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specify an ML workflow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linkClick r:id="" action="ppaction://noaction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hlinkClick r:id="" action="ppaction://noaction"/>
              </a:rPr>
              <a:t>Parameter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: All Transformers and Estimators share a common API for specifying parameters</a:t>
            </a:r>
          </a:p>
        </p:txBody>
      </p:sp>
    </p:spTree>
    <p:extLst>
      <p:ext uri="{BB962C8B-B14F-4D97-AF65-F5344CB8AC3E}">
        <p14:creationId xmlns:p14="http://schemas.microsoft.com/office/powerpoint/2010/main" val="21947992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Lab 2 Exercise – Female Human Traffic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 smtClean="0"/>
              <a:t>Input</a:t>
            </a:r>
          </a:p>
          <a:p>
            <a:pPr lvl="1"/>
            <a:r>
              <a:rPr lang="en-US" dirty="0" smtClean="0"/>
              <a:t>Generated fake </a:t>
            </a:r>
            <a:r>
              <a:rPr lang="en-US" dirty="0"/>
              <a:t>travel records based on incoming custom forms</a:t>
            </a:r>
            <a:r>
              <a:rPr lang="en-US" dirty="0" smtClean="0"/>
              <a:t>.</a:t>
            </a:r>
            <a:endParaRPr lang="en-US" dirty="0"/>
          </a:p>
          <a:p>
            <a:pPr lvl="1"/>
            <a:r>
              <a:rPr lang="en-US" dirty="0" smtClean="0"/>
              <a:t>Subset of records were vetted as “high”, “medium”, or “low” risk for Female Human Trafficking by an analyst.  </a:t>
            </a:r>
          </a:p>
          <a:p>
            <a:endParaRPr lang="en-US" dirty="0"/>
          </a:p>
          <a:p>
            <a:r>
              <a:rPr lang="en-US" dirty="0" smtClean="0"/>
              <a:t>Goal is to train a model on the vetted data to be able to score the </a:t>
            </a:r>
            <a:r>
              <a:rPr lang="en-US" dirty="0" err="1" smtClean="0"/>
              <a:t>unvetted</a:t>
            </a:r>
            <a:r>
              <a:rPr lang="en-US" dirty="0" smtClean="0"/>
              <a:t>  travel records into high, medium, or low categories.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494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AZ_Template_2013-Aug-2">
  <a:themeElements>
    <a:clrScheme name="blank 16">
      <a:dk1>
        <a:srgbClr val="000000"/>
      </a:dk1>
      <a:lt1>
        <a:srgbClr val="FFFFFF"/>
      </a:lt1>
      <a:dk2>
        <a:srgbClr val="18827D"/>
      </a:dk2>
      <a:lt2>
        <a:srgbClr val="A9A9A9"/>
      </a:lt2>
      <a:accent1>
        <a:srgbClr val="1088DA"/>
      </a:accent1>
      <a:accent2>
        <a:srgbClr val="005BA0"/>
      </a:accent2>
      <a:accent3>
        <a:srgbClr val="FFFFFF"/>
      </a:accent3>
      <a:accent4>
        <a:srgbClr val="000000"/>
      </a:accent4>
      <a:accent5>
        <a:srgbClr val="AAC3EA"/>
      </a:accent5>
      <a:accent6>
        <a:srgbClr val="005291"/>
      </a:accent6>
      <a:hlink>
        <a:srgbClr val="3333FF"/>
      </a:hlink>
      <a:folHlink>
        <a:srgbClr val="FD8A3B"/>
      </a:folHlink>
    </a:clrScheme>
    <a:fontScheme name="S&amp;C Template Example Slide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Arial" pitchFamily="-112" charset="0"/>
            <a:cs typeface="Arial" pitchFamily="-112" charset="0"/>
          </a:defRPr>
        </a:defPPr>
      </a:lstStyle>
    </a:lnDef>
  </a:objectDefaults>
  <a:extraClrSchemeLst>
    <a:extraClrScheme>
      <a:clrScheme name="S&amp;C Template Example Slide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&amp;C Template Example Slide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&amp;C Template Example Slides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969696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2BB0AD"/>
        </a:dk2>
        <a:lt2>
          <a:srgbClr val="B9B9B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FD8A3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005BA0"/>
        </a:accent1>
        <a:accent2>
          <a:srgbClr val="1088DA"/>
        </a:accent2>
        <a:accent3>
          <a:srgbClr val="FFFFFF"/>
        </a:accent3>
        <a:accent4>
          <a:srgbClr val="000000"/>
        </a:accent4>
        <a:accent5>
          <a:srgbClr val="AAB5CD"/>
        </a:accent5>
        <a:accent6>
          <a:srgbClr val="0D7BC5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777777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18827D"/>
        </a:dk2>
        <a:lt2>
          <a:srgbClr val="A9A9A9"/>
        </a:lt2>
        <a:accent1>
          <a:srgbClr val="1088DA"/>
        </a:accent1>
        <a:accent2>
          <a:srgbClr val="005BA0"/>
        </a:accent2>
        <a:accent3>
          <a:srgbClr val="FFFFFF"/>
        </a:accent3>
        <a:accent4>
          <a:srgbClr val="000000"/>
        </a:accent4>
        <a:accent5>
          <a:srgbClr val="AAC3EA"/>
        </a:accent5>
        <a:accent6>
          <a:srgbClr val="005291"/>
        </a:accent6>
        <a:hlink>
          <a:srgbClr val="3333FF"/>
        </a:hlink>
        <a:folHlink>
          <a:srgbClr val="FD8A3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 [Compatibility Mode]" id="{A1CC78D2-35A8-4C6C-934A-3FB81902F895}" vid="{1933E8BC-9F35-48F6-A4EC-EA68C19B4559}"/>
    </a:ext>
  </a:extLst>
</a:theme>
</file>

<file path=ppt/theme/theme2.xml><?xml version="1.0" encoding="utf-8"?>
<a:theme xmlns:a="http://schemas.openxmlformats.org/drawingml/2006/main" name="Watson: Group 3, Teal 70">
  <a:themeElements>
    <a:clrScheme name="Group 4, Blue 70">
      <a:dk1>
        <a:srgbClr val="EED2FF"/>
      </a:dk1>
      <a:lt1>
        <a:srgbClr val="C0E6FF"/>
      </a:lt1>
      <a:dk2>
        <a:srgbClr val="152935"/>
      </a:dk2>
      <a:lt2>
        <a:srgbClr val="264A60"/>
      </a:lt2>
      <a:accent1>
        <a:srgbClr val="AF6EE8"/>
      </a:accent1>
      <a:accent2>
        <a:srgbClr val="BA8FF7"/>
      </a:accent2>
      <a:accent3>
        <a:srgbClr val="D7AAFF"/>
      </a:accent3>
      <a:accent4>
        <a:srgbClr val="5596E6"/>
      </a:accent4>
      <a:accent5>
        <a:srgbClr val="5AAAFA"/>
      </a:accent5>
      <a:accent6>
        <a:srgbClr val="7CC7FF"/>
      </a:accent6>
      <a:hlink>
        <a:srgbClr val="B3B3B3"/>
      </a:hlink>
      <a:folHlink>
        <a:srgbClr val="E0E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oW_Speaker_Template_16x9_Internal_V5" id="{B4CCB014-A1AE-FF44-B07D-9B017A7F5C21}" vid="{8FB6205A-4C15-C04D-9C47-87DEA2D3EE58}"/>
    </a:ext>
  </a:extLst>
</a:theme>
</file>

<file path=ppt/theme/theme3.xml><?xml version="1.0" encoding="utf-8"?>
<a:theme xmlns:a="http://schemas.openxmlformats.org/drawingml/2006/main" name="2_IBM Analytics_wht_template">
  <a:themeElements>
    <a:clrScheme name="Custom 2">
      <a:dk1>
        <a:srgbClr val="000000"/>
      </a:dk1>
      <a:lt1>
        <a:srgbClr val="FFFFFF"/>
      </a:lt1>
      <a:dk2>
        <a:srgbClr val="005D81"/>
      </a:dk2>
      <a:lt2>
        <a:srgbClr val="808080"/>
      </a:lt2>
      <a:accent1>
        <a:srgbClr val="007DAD"/>
      </a:accent1>
      <a:accent2>
        <a:srgbClr val="00B2EF"/>
      </a:accent2>
      <a:accent3>
        <a:srgbClr val="FFFFFF"/>
      </a:accent3>
      <a:accent4>
        <a:srgbClr val="000000"/>
      </a:accent4>
      <a:accent5>
        <a:srgbClr val="F39128"/>
      </a:accent5>
      <a:accent6>
        <a:srgbClr val="0070C0"/>
      </a:accent6>
      <a:hlink>
        <a:srgbClr val="007DAD"/>
      </a:hlink>
      <a:folHlink>
        <a:srgbClr val="F39128"/>
      </a:folHlink>
    </a:clrScheme>
    <a:fontScheme name="Big_Data_&amp;_Analytics_Brand_wht_templat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ig_Data_&amp;_Analytics_Brand_wht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3D1F5"/>
        </a:accent1>
        <a:accent2>
          <a:srgbClr val="008ABF"/>
        </a:accent2>
        <a:accent3>
          <a:srgbClr val="FFFFFF"/>
        </a:accent3>
        <a:accent4>
          <a:srgbClr val="000000"/>
        </a:accent4>
        <a:accent5>
          <a:srgbClr val="C1E5F9"/>
        </a:accent5>
        <a:accent6>
          <a:srgbClr val="007DAD"/>
        </a:accent6>
        <a:hlink>
          <a:srgbClr val="007670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3" id="{12C11A47-8DDC-BD4D-AE51-40F1E63104CC}" vid="{5C5CB90A-7245-514F-8E1A-BEB447327A9E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07</TotalTime>
  <Words>1021</Words>
  <Application>Microsoft Office PowerPoint</Application>
  <PresentationFormat>On-screen Show (4:3)</PresentationFormat>
  <Paragraphs>200</Paragraphs>
  <Slides>14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ＭＳ Ｐゴシック</vt:lpstr>
      <vt:lpstr>ＭＳ Ｐゴシック</vt:lpstr>
      <vt:lpstr>Arial</vt:lpstr>
      <vt:lpstr>Calibri</vt:lpstr>
      <vt:lpstr>Comic Sans MS</vt:lpstr>
      <vt:lpstr>Helvetica</vt:lpstr>
      <vt:lpstr>Symbol</vt:lpstr>
      <vt:lpstr>Times New Roman</vt:lpstr>
      <vt:lpstr>Wingdings</vt:lpstr>
      <vt:lpstr>IMAZ_Template_2013-Aug-2</vt:lpstr>
      <vt:lpstr>Watson: Group 3, Teal 70</vt:lpstr>
      <vt:lpstr>2_IBM Analytics_wht_template</vt:lpstr>
      <vt:lpstr>think-cell Slide</vt:lpstr>
      <vt:lpstr>Lab 2 - Machine Learning </vt:lpstr>
      <vt:lpstr>What is Machine Learning?</vt:lpstr>
      <vt:lpstr>Categories of Machine Learning</vt:lpstr>
      <vt:lpstr>Categories of Machine Learning</vt:lpstr>
      <vt:lpstr>Preprocessing: Matrix for Machine Learning</vt:lpstr>
      <vt:lpstr>Training, testing, &amp; validation sets</vt:lpstr>
      <vt:lpstr>Spark ML</vt:lpstr>
      <vt:lpstr>Spark ML Pipeline Terminology</vt:lpstr>
      <vt:lpstr>Lab 2 Exercise – Female Human Trafficking</vt:lpstr>
      <vt:lpstr>Demo Data </vt:lpstr>
      <vt:lpstr>Demo Flow</vt:lpstr>
      <vt:lpstr>Demo Flow (continued)</vt:lpstr>
      <vt:lpstr>Classification - Naïve Bayes</vt:lpstr>
      <vt:lpstr>PowerPoint Presentation</vt:lpstr>
    </vt:vector>
  </TitlesOfParts>
  <Company>IBM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Dirk</dc:creator>
  <cp:lastModifiedBy>IBM_ADMIN</cp:lastModifiedBy>
  <cp:revision>430</cp:revision>
  <cp:lastPrinted>2017-02-23T13:20:41Z</cp:lastPrinted>
  <dcterms:created xsi:type="dcterms:W3CDTF">2015-01-22T19:18:00Z</dcterms:created>
  <dcterms:modified xsi:type="dcterms:W3CDTF">2017-07-10T02:33:34Z</dcterms:modified>
</cp:coreProperties>
</file>